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</p:sldMasterIdLst>
  <p:notesMasterIdLst>
    <p:notesMasterId r:id="rId20"/>
  </p:notesMasterIdLst>
  <p:sldIdLst>
    <p:sldId id="267" r:id="rId3"/>
    <p:sldId id="283" r:id="rId4"/>
    <p:sldId id="268" r:id="rId5"/>
    <p:sldId id="270" r:id="rId6"/>
    <p:sldId id="271" r:id="rId7"/>
    <p:sldId id="272" r:id="rId8"/>
    <p:sldId id="285" r:id="rId9"/>
    <p:sldId id="273" r:id="rId10"/>
    <p:sldId id="275" r:id="rId11"/>
    <p:sldId id="276" r:id="rId12"/>
    <p:sldId id="277" r:id="rId13"/>
    <p:sldId id="278" r:id="rId14"/>
    <p:sldId id="274" r:id="rId15"/>
    <p:sldId id="282" r:id="rId16"/>
    <p:sldId id="281" r:id="rId17"/>
    <p:sldId id="284" r:id="rId18"/>
    <p:sldId id="280" r:id="rId1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6" d="100"/>
          <a:sy n="86" d="100"/>
        </p:scale>
        <p:origin x="504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6131BA-AC64-4DA0-A253-BDE2BD394BFE}" type="datetimeFigureOut">
              <a:rPr lang="ru-RU" smtClean="0"/>
              <a:t>10.04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A56A76-445A-4784-8344-1215E4149C6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23691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DDA34D-7D50-4BA4-9B44-1B914067A174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56832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Shape 8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6" name="Shape 8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75144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Shape 62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3" name="Shape 63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782090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DDA34D-7D50-4BA4-9B44-1B914067A174}" type="slidenum">
              <a:rPr lang="ru-RU" smtClean="0">
                <a:solidFill>
                  <a:prstClr val="black"/>
                </a:solidFill>
              </a:rPr>
              <a:pPr/>
              <a:t>1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96525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DDA34D-7D50-4BA4-9B44-1B914067A174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31498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hape 187"/>
          <p:cNvSpPr>
            <a:spLocks noGrp="1" noRot="1" noChangeAspect="1" noTextEdit="1"/>
          </p:cNvSpPr>
          <p:nvPr>
            <p:ph type="sldImg" idx="2"/>
          </p:nvPr>
        </p:nvSpPr>
        <p:spPr>
          <a:ln>
            <a:miter lim="800000"/>
          </a:ln>
        </p:spPr>
      </p:sp>
      <p:sp>
        <p:nvSpPr>
          <p:cNvPr id="31747" name="Shape 188"/>
          <p:cNvSpPr txBox="1"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37440632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hape 245"/>
          <p:cNvSpPr>
            <a:spLocks noGrp="1" noRot="1" noChangeAspect="1" noTextEdit="1"/>
          </p:cNvSpPr>
          <p:nvPr>
            <p:ph type="sldImg" idx="2"/>
          </p:nvPr>
        </p:nvSpPr>
        <p:spPr>
          <a:ln>
            <a:miter lim="800000"/>
          </a:ln>
        </p:spPr>
      </p:sp>
      <p:sp>
        <p:nvSpPr>
          <p:cNvPr id="32771" name="Shape 246"/>
          <p:cNvSpPr txBox="1"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31542991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hape 245"/>
          <p:cNvSpPr>
            <a:spLocks noGrp="1" noRot="1" noChangeAspect="1" noTextEdit="1"/>
          </p:cNvSpPr>
          <p:nvPr>
            <p:ph type="sldImg" idx="2"/>
          </p:nvPr>
        </p:nvSpPr>
        <p:spPr>
          <a:ln>
            <a:miter lim="800000"/>
          </a:ln>
        </p:spPr>
      </p:sp>
      <p:sp>
        <p:nvSpPr>
          <p:cNvPr id="32771" name="Shape 246"/>
          <p:cNvSpPr txBox="1"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9027248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1" cy="8386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3854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3180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57200"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57200" eaLnBrk="0" hangingPunct="0">
              <a:defRPr/>
            </a:lvl1pPr>
          </a:lstStyle>
          <a:p>
            <a:pPr>
              <a:defRPr/>
            </a:pPr>
            <a:r>
              <a:rPr lang="ru-RU"/>
              <a:t>Представление проекта в программе Word, PowerPoint или Visio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57200" eaLnBrk="0" hangingPunct="0">
              <a:defRPr/>
            </a:lvl1pPr>
          </a:lstStyle>
          <a:p>
            <a:pPr>
              <a:defRPr/>
            </a:pPr>
            <a:fld id="{A6895101-0220-4BC0-837D-A6BFFD75664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06275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11296609" y="6217621"/>
            <a:ext cx="731600" cy="524800"/>
          </a:xfrm>
          <a:prstGeom prst="rect">
            <a:avLst/>
          </a:prstGeom>
        </p:spPr>
        <p:txBody>
          <a:bodyPr lIns="121897" tIns="121897" rIns="121897" bIns="121897" anchor="ctr" anchorCtr="0">
            <a:noAutofit/>
          </a:bodyPr>
          <a:lstStyle/>
          <a:p>
            <a:pPr>
              <a:spcBef>
                <a:spcPts val="0"/>
              </a:spcBef>
            </a:pPr>
            <a:fld id="{00000000-1234-1234-1234-123412341234}" type="slidenum">
              <a:rPr lang="en" smtClean="0"/>
              <a:pPr>
                <a:spcBef>
                  <a:spcPts val="0"/>
                </a:spcBef>
              </a:pPr>
              <a:t>‹#›</a:t>
            </a:fld>
            <a:endParaRPr lang="en" dirty="0"/>
          </a:p>
        </p:txBody>
      </p:sp>
      <p:sp>
        <p:nvSpPr>
          <p:cNvPr id="50" name="Shape 50"/>
          <p:cNvSpPr txBox="1"/>
          <p:nvPr/>
        </p:nvSpPr>
        <p:spPr>
          <a:xfrm>
            <a:off x="369533" y="151945"/>
            <a:ext cx="5788000" cy="328000"/>
          </a:xfrm>
          <a:prstGeom prst="rect">
            <a:avLst/>
          </a:prstGeom>
          <a:noFill/>
          <a:ln>
            <a:noFill/>
          </a:ln>
        </p:spPr>
        <p:txBody>
          <a:bodyPr lIns="121897" tIns="121897" rIns="121897" bIns="121897" anchor="ctr" anchorCtr="0">
            <a:noAutofit/>
          </a:bodyPr>
          <a:lstStyle/>
          <a:p>
            <a:pPr lvl="0" algn="l" rtl="0">
              <a:spcBef>
                <a:spcPts val="0"/>
              </a:spcBef>
              <a:buNone/>
            </a:pPr>
            <a:r>
              <a:rPr lang="ru-RU" sz="900" dirty="0" smtClean="0">
                <a:solidFill>
                  <a:srgbClr val="82B4CB"/>
                </a:solidFill>
                <a:latin typeface="Open Sans"/>
                <a:ea typeface="Open Sans"/>
                <a:cs typeface="Open Sans"/>
                <a:sym typeface="Open Sans"/>
              </a:rPr>
              <a:t>СОВРЕМЕННЫЕ</a:t>
            </a:r>
            <a:r>
              <a:rPr lang="ru-RU" sz="900" baseline="0" dirty="0" smtClean="0">
                <a:solidFill>
                  <a:srgbClr val="82B4CB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900" baseline="0" dirty="0" smtClean="0">
                <a:solidFill>
                  <a:srgbClr val="82B4CB"/>
                </a:solidFill>
                <a:latin typeface="Open Sans"/>
                <a:ea typeface="Open Sans"/>
                <a:cs typeface="Open Sans"/>
                <a:sym typeface="Open Sans"/>
              </a:rPr>
              <a:t>IT</a:t>
            </a:r>
            <a:r>
              <a:rPr lang="ru-RU" sz="900" baseline="0" dirty="0" smtClean="0">
                <a:solidFill>
                  <a:srgbClr val="82B4CB"/>
                </a:solidFill>
                <a:latin typeface="Open Sans"/>
                <a:ea typeface="Open Sans"/>
                <a:cs typeface="Open Sans"/>
                <a:sym typeface="Open Sans"/>
              </a:rPr>
              <a:t>-РЕШЕНИЯ ДЛЯ РАСЧЕТА ОПТИМАЛЬНОГО ПИТАНИЯ ЧЕЛОВЕКА</a:t>
            </a:r>
            <a:endParaRPr lang="en" sz="900" dirty="0">
              <a:solidFill>
                <a:srgbClr val="82B4CB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51" name="Shape 51"/>
          <p:cNvSpPr txBox="1">
            <a:spLocks noGrp="1"/>
          </p:cNvSpPr>
          <p:nvPr>
            <p:ph type="title"/>
          </p:nvPr>
        </p:nvSpPr>
        <p:spPr>
          <a:xfrm>
            <a:off x="369533" y="325127"/>
            <a:ext cx="9088800" cy="610800"/>
          </a:xfrm>
          <a:prstGeom prst="rect">
            <a:avLst/>
          </a:prstGeom>
        </p:spPr>
        <p:txBody>
          <a:bodyPr lIns="121897" tIns="121897" rIns="121897" bIns="121897" anchor="t" anchorCtr="0"/>
          <a:lstStyle>
            <a:lvl1pPr lvl="0">
              <a:spcBef>
                <a:spcPts val="0"/>
              </a:spcBef>
              <a:buNone/>
              <a:defRPr sz="2400">
                <a:solidFill>
                  <a:schemeClr val="lt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1pPr>
            <a:lvl2pPr lvl="1">
              <a:spcBef>
                <a:spcPts val="0"/>
              </a:spcBef>
              <a:buNone/>
              <a:defRPr sz="1900">
                <a:solidFill>
                  <a:schemeClr val="lt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2pPr>
            <a:lvl3pPr lvl="2">
              <a:spcBef>
                <a:spcPts val="0"/>
              </a:spcBef>
              <a:buNone/>
              <a:defRPr sz="1900">
                <a:solidFill>
                  <a:schemeClr val="lt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3pPr>
            <a:lvl4pPr lvl="3">
              <a:spcBef>
                <a:spcPts val="0"/>
              </a:spcBef>
              <a:buNone/>
              <a:defRPr sz="1900">
                <a:solidFill>
                  <a:schemeClr val="lt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4pPr>
            <a:lvl5pPr lvl="4">
              <a:spcBef>
                <a:spcPts val="0"/>
              </a:spcBef>
              <a:buNone/>
              <a:defRPr sz="1900">
                <a:solidFill>
                  <a:schemeClr val="lt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5pPr>
            <a:lvl6pPr lvl="5">
              <a:spcBef>
                <a:spcPts val="0"/>
              </a:spcBef>
              <a:buNone/>
              <a:defRPr sz="1900">
                <a:solidFill>
                  <a:schemeClr val="lt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6pPr>
            <a:lvl7pPr lvl="6">
              <a:spcBef>
                <a:spcPts val="0"/>
              </a:spcBef>
              <a:buNone/>
              <a:defRPr sz="1900">
                <a:solidFill>
                  <a:schemeClr val="lt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7pPr>
            <a:lvl8pPr lvl="7">
              <a:spcBef>
                <a:spcPts val="0"/>
              </a:spcBef>
              <a:buNone/>
              <a:defRPr sz="1900">
                <a:solidFill>
                  <a:schemeClr val="lt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8pPr>
            <a:lvl9pPr lvl="8">
              <a:spcBef>
                <a:spcPts val="0"/>
              </a:spcBef>
              <a:buNone/>
              <a:defRPr sz="1900">
                <a:solidFill>
                  <a:schemeClr val="lt1"/>
                </a:solidFill>
                <a:latin typeface="Roboto Condensed"/>
                <a:ea typeface="Roboto Condensed"/>
                <a:cs typeface="Roboto Condensed"/>
                <a:sym typeface="Roboto Condense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265865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536906" y="1411669"/>
            <a:ext cx="3118189" cy="508601"/>
          </a:xfrm>
        </p:spPr>
        <p:txBody>
          <a:bodyPr lIns="0" tIns="0" rIns="0" bIns="0"/>
          <a:lstStyle>
            <a:lvl1pPr>
              <a:defRPr sz="3305" b="0" i="0">
                <a:solidFill>
                  <a:schemeClr val="bg1"/>
                </a:solidFill>
                <a:latin typeface="Open Sans Light"/>
                <a:cs typeface="Open Sans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1261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536906" y="1411669"/>
            <a:ext cx="3118189" cy="508601"/>
          </a:xfrm>
        </p:spPr>
        <p:txBody>
          <a:bodyPr lIns="0" tIns="0" rIns="0" bIns="0"/>
          <a:lstStyle>
            <a:lvl1pPr>
              <a:defRPr sz="3305" b="0" i="0">
                <a:solidFill>
                  <a:schemeClr val="bg1"/>
                </a:solidFill>
                <a:latin typeface="Open Sans Light"/>
                <a:cs typeface="Open Sans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43198" y="1817599"/>
            <a:ext cx="3298310" cy="1540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1" b="0" i="0">
                <a:solidFill>
                  <a:srgbClr val="4E4E4E"/>
                </a:solidFill>
                <a:latin typeface="Roboto Light"/>
                <a:cs typeface="Roboto Light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1930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" y="0"/>
            <a:ext cx="12191999" cy="685751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536906" y="1411669"/>
            <a:ext cx="3118189" cy="508601"/>
          </a:xfrm>
        </p:spPr>
        <p:txBody>
          <a:bodyPr lIns="0" tIns="0" rIns="0" bIns="0"/>
          <a:lstStyle>
            <a:lvl1pPr>
              <a:defRPr sz="3305" b="0" i="0">
                <a:solidFill>
                  <a:schemeClr val="bg1"/>
                </a:solidFill>
                <a:latin typeface="Open Sans Light"/>
                <a:cs typeface="Open Sans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5401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633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1" cy="8386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713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536906" y="1411669"/>
            <a:ext cx="3118189" cy="508601"/>
          </a:xfrm>
        </p:spPr>
        <p:txBody>
          <a:bodyPr lIns="0" tIns="0" rIns="0" bIns="0"/>
          <a:lstStyle>
            <a:lvl1pPr>
              <a:defRPr sz="3305" b="0" i="0">
                <a:solidFill>
                  <a:schemeClr val="bg1"/>
                </a:solidFill>
                <a:latin typeface="Open Sans Light"/>
                <a:cs typeface="Open Sans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1106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536906" y="1411669"/>
            <a:ext cx="3118189" cy="508601"/>
          </a:xfrm>
        </p:spPr>
        <p:txBody>
          <a:bodyPr lIns="0" tIns="0" rIns="0" bIns="0"/>
          <a:lstStyle>
            <a:lvl1pPr>
              <a:defRPr sz="3305" b="0" i="0">
                <a:solidFill>
                  <a:schemeClr val="bg1"/>
                </a:solidFill>
                <a:latin typeface="Open Sans Light"/>
                <a:cs typeface="Open Sans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843198" y="1817599"/>
            <a:ext cx="3298310" cy="1540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1" b="0" i="0">
                <a:solidFill>
                  <a:srgbClr val="4E4E4E"/>
                </a:solidFill>
                <a:latin typeface="Roboto Light"/>
                <a:cs typeface="Roboto Light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8465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" y="0"/>
            <a:ext cx="12191999" cy="685751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536906" y="1411669"/>
            <a:ext cx="3118189" cy="508601"/>
          </a:xfrm>
        </p:spPr>
        <p:txBody>
          <a:bodyPr lIns="0" tIns="0" rIns="0" bIns="0"/>
          <a:lstStyle>
            <a:lvl1pPr>
              <a:defRPr sz="3305" b="0" i="0">
                <a:solidFill>
                  <a:schemeClr val="bg1"/>
                </a:solidFill>
                <a:latin typeface="Open Sans Light"/>
                <a:cs typeface="Open Sans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4371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" y="0"/>
            <a:ext cx="12191999" cy="138420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536906" y="1411669"/>
            <a:ext cx="3118189" cy="8386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450" b="0" i="0">
                <a:solidFill>
                  <a:schemeClr val="bg1"/>
                </a:solidFill>
                <a:latin typeface="Open Sans Light"/>
                <a:cs typeface="Open Sans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279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" y="0"/>
            <a:ext cx="12191999" cy="138420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536906" y="1411669"/>
            <a:ext cx="3118189" cy="8386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450" b="0" i="0">
                <a:solidFill>
                  <a:schemeClr val="bg1"/>
                </a:solidFill>
                <a:latin typeface="Open Sans Light"/>
                <a:cs typeface="Open Sans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4/10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071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13" Type="http://schemas.openxmlformats.org/officeDocument/2006/relationships/image" Target="../media/image60.png"/><Relationship Id="rId18" Type="http://schemas.openxmlformats.org/officeDocument/2006/relationships/image" Target="../media/image65.png"/><Relationship Id="rId3" Type="http://schemas.openxmlformats.org/officeDocument/2006/relationships/image" Target="../media/image51.png"/><Relationship Id="rId7" Type="http://schemas.openxmlformats.org/officeDocument/2006/relationships/image" Target="../media/image54.png"/><Relationship Id="rId12" Type="http://schemas.openxmlformats.org/officeDocument/2006/relationships/image" Target="../media/image59.png"/><Relationship Id="rId17" Type="http://schemas.openxmlformats.org/officeDocument/2006/relationships/image" Target="../media/image64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63.png"/><Relationship Id="rId20" Type="http://schemas.openxmlformats.org/officeDocument/2006/relationships/image" Target="../media/image6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5" Type="http://schemas.openxmlformats.org/officeDocument/2006/relationships/image" Target="../media/image1.png"/><Relationship Id="rId15" Type="http://schemas.openxmlformats.org/officeDocument/2006/relationships/image" Target="../media/image62.png"/><Relationship Id="rId10" Type="http://schemas.openxmlformats.org/officeDocument/2006/relationships/image" Target="../media/image57.jpeg"/><Relationship Id="rId19" Type="http://schemas.openxmlformats.org/officeDocument/2006/relationships/image" Target="../media/image66.png"/><Relationship Id="rId4" Type="http://schemas.openxmlformats.org/officeDocument/2006/relationships/image" Target="../media/image52.png"/><Relationship Id="rId9" Type="http://schemas.openxmlformats.org/officeDocument/2006/relationships/image" Target="../media/image56.png"/><Relationship Id="rId14" Type="http://schemas.openxmlformats.org/officeDocument/2006/relationships/image" Target="../media/image6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8.pn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Relationship Id="rId9" Type="http://schemas.openxmlformats.org/officeDocument/2006/relationships/image" Target="../media/image1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8.png"/><Relationship Id="rId4" Type="http://schemas.openxmlformats.org/officeDocument/2006/relationships/image" Target="../media/image7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8.png"/><Relationship Id="rId4" Type="http://schemas.openxmlformats.org/officeDocument/2006/relationships/image" Target="../media/image7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1.png"/><Relationship Id="rId4" Type="http://schemas.openxmlformats.org/officeDocument/2006/relationships/image" Target="../media/image7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Relationship Id="rId9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5.png"/><Relationship Id="rId5" Type="http://schemas.openxmlformats.org/officeDocument/2006/relationships/image" Target="../media/image34.jpeg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jpeg"/><Relationship Id="rId3" Type="http://schemas.openxmlformats.org/officeDocument/2006/relationships/image" Target="../media/image1.png"/><Relationship Id="rId7" Type="http://schemas.openxmlformats.org/officeDocument/2006/relationships/image" Target="../media/image40.jpeg"/><Relationship Id="rId12" Type="http://schemas.openxmlformats.org/officeDocument/2006/relationships/image" Target="../media/image45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jpeg"/><Relationship Id="rId14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-66907" y="2062804"/>
            <a:ext cx="12192000" cy="5084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856" marR="3081" indent="-1155" algn="ctr">
              <a:lnSpc>
                <a:spcPct val="117500"/>
              </a:lnSpc>
            </a:pPr>
            <a:r>
              <a:rPr lang="ru-RU" sz="2800" b="1" dirty="0" smtClean="0"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Цифровая диетология в реальной клинической практике</a:t>
            </a:r>
            <a:endParaRPr sz="2800" b="1" dirty="0"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474325" y="525499"/>
            <a:ext cx="164423" cy="226418"/>
          </a:xfrm>
          <a:custGeom>
            <a:avLst/>
            <a:gdLst/>
            <a:ahLst/>
            <a:cxnLst/>
            <a:rect l="l" t="t" r="r" b="b"/>
            <a:pathLst>
              <a:path w="271144" h="373380">
                <a:moveTo>
                  <a:pt x="57589" y="0"/>
                </a:moveTo>
                <a:lnTo>
                  <a:pt x="5863" y="0"/>
                </a:lnTo>
                <a:lnTo>
                  <a:pt x="0" y="5863"/>
                </a:lnTo>
                <a:lnTo>
                  <a:pt x="0" y="367350"/>
                </a:lnTo>
                <a:lnTo>
                  <a:pt x="5863" y="373213"/>
                </a:lnTo>
                <a:lnTo>
                  <a:pt x="49056" y="373213"/>
                </a:lnTo>
                <a:lnTo>
                  <a:pt x="55453" y="367350"/>
                </a:lnTo>
                <a:lnTo>
                  <a:pt x="54919" y="359884"/>
                </a:lnTo>
                <a:lnTo>
                  <a:pt x="53851" y="92772"/>
                </a:lnTo>
                <a:lnTo>
                  <a:pt x="113765" y="92772"/>
                </a:lnTo>
                <a:lnTo>
                  <a:pt x="69317" y="11737"/>
                </a:lnTo>
                <a:lnTo>
                  <a:pt x="65589" y="4795"/>
                </a:lnTo>
                <a:lnTo>
                  <a:pt x="57589" y="0"/>
                </a:lnTo>
                <a:close/>
              </a:path>
              <a:path w="271144" h="373380">
                <a:moveTo>
                  <a:pt x="113765" y="92772"/>
                </a:moveTo>
                <a:lnTo>
                  <a:pt x="53851" y="92772"/>
                </a:lnTo>
                <a:lnTo>
                  <a:pt x="200475" y="361486"/>
                </a:lnTo>
                <a:lnTo>
                  <a:pt x="204203" y="368418"/>
                </a:lnTo>
                <a:lnTo>
                  <a:pt x="212202" y="373213"/>
                </a:lnTo>
                <a:lnTo>
                  <a:pt x="264986" y="373213"/>
                </a:lnTo>
                <a:lnTo>
                  <a:pt x="270850" y="367350"/>
                </a:lnTo>
                <a:lnTo>
                  <a:pt x="270850" y="280975"/>
                </a:lnTo>
                <a:lnTo>
                  <a:pt x="216998" y="280975"/>
                </a:lnTo>
                <a:lnTo>
                  <a:pt x="113765" y="92772"/>
                </a:lnTo>
                <a:close/>
              </a:path>
              <a:path w="271144" h="373380">
                <a:moveTo>
                  <a:pt x="264986" y="0"/>
                </a:moveTo>
                <a:lnTo>
                  <a:pt x="221794" y="0"/>
                </a:lnTo>
                <a:lnTo>
                  <a:pt x="215930" y="5863"/>
                </a:lnTo>
                <a:lnTo>
                  <a:pt x="215930" y="13329"/>
                </a:lnTo>
                <a:lnTo>
                  <a:pt x="216998" y="280975"/>
                </a:lnTo>
                <a:lnTo>
                  <a:pt x="270850" y="280975"/>
                </a:lnTo>
                <a:lnTo>
                  <a:pt x="270850" y="5863"/>
                </a:lnTo>
                <a:lnTo>
                  <a:pt x="26498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1690952" y="570767"/>
            <a:ext cx="135543" cy="184446"/>
          </a:xfrm>
          <a:custGeom>
            <a:avLst/>
            <a:gdLst/>
            <a:ahLst/>
            <a:cxnLst/>
            <a:rect l="l" t="t" r="r" b="b"/>
            <a:pathLst>
              <a:path w="223519" h="304165">
                <a:moveTo>
                  <a:pt x="46920" y="0"/>
                </a:moveTo>
                <a:lnTo>
                  <a:pt x="5863" y="0"/>
                </a:lnTo>
                <a:lnTo>
                  <a:pt x="0" y="5863"/>
                </a:lnTo>
                <a:lnTo>
                  <a:pt x="0" y="203124"/>
                </a:lnTo>
                <a:lnTo>
                  <a:pt x="4749" y="246761"/>
                </a:lnTo>
                <a:lnTo>
                  <a:pt x="20395" y="278303"/>
                </a:lnTo>
                <a:lnTo>
                  <a:pt x="49037" y="297448"/>
                </a:lnTo>
                <a:lnTo>
                  <a:pt x="92772" y="303896"/>
                </a:lnTo>
                <a:lnTo>
                  <a:pt x="115246" y="301313"/>
                </a:lnTo>
                <a:lnTo>
                  <a:pt x="136622" y="294031"/>
                </a:lnTo>
                <a:lnTo>
                  <a:pt x="156198" y="282750"/>
                </a:lnTo>
                <a:lnTo>
                  <a:pt x="173272" y="268169"/>
                </a:lnTo>
                <a:lnTo>
                  <a:pt x="223396" y="268169"/>
                </a:lnTo>
                <a:lnTo>
                  <a:pt x="223396" y="258578"/>
                </a:lnTo>
                <a:lnTo>
                  <a:pt x="102907" y="258578"/>
                </a:lnTo>
                <a:lnTo>
                  <a:pt x="77980" y="254904"/>
                </a:lnTo>
                <a:lnTo>
                  <a:pt x="62649" y="243582"/>
                </a:lnTo>
                <a:lnTo>
                  <a:pt x="54917" y="224162"/>
                </a:lnTo>
                <a:lnTo>
                  <a:pt x="52783" y="196192"/>
                </a:lnTo>
                <a:lnTo>
                  <a:pt x="52783" y="5863"/>
                </a:lnTo>
                <a:lnTo>
                  <a:pt x="46920" y="0"/>
                </a:lnTo>
                <a:close/>
              </a:path>
              <a:path w="223519" h="304165">
                <a:moveTo>
                  <a:pt x="223396" y="268169"/>
                </a:moveTo>
                <a:lnTo>
                  <a:pt x="173272" y="268169"/>
                </a:lnTo>
                <a:lnTo>
                  <a:pt x="174874" y="285237"/>
                </a:lnTo>
                <a:lnTo>
                  <a:pt x="175408" y="292703"/>
                </a:lnTo>
                <a:lnTo>
                  <a:pt x="182350" y="298566"/>
                </a:lnTo>
                <a:lnTo>
                  <a:pt x="217532" y="298566"/>
                </a:lnTo>
                <a:lnTo>
                  <a:pt x="223396" y="292703"/>
                </a:lnTo>
                <a:lnTo>
                  <a:pt x="223396" y="268169"/>
                </a:lnTo>
                <a:close/>
              </a:path>
              <a:path w="223519" h="304165">
                <a:moveTo>
                  <a:pt x="217532" y="0"/>
                </a:moveTo>
                <a:lnTo>
                  <a:pt x="176476" y="0"/>
                </a:lnTo>
                <a:lnTo>
                  <a:pt x="170612" y="5863"/>
                </a:lnTo>
                <a:lnTo>
                  <a:pt x="170612" y="222317"/>
                </a:lnTo>
                <a:lnTo>
                  <a:pt x="157261" y="235855"/>
                </a:lnTo>
                <a:lnTo>
                  <a:pt x="140957" y="247445"/>
                </a:lnTo>
                <a:lnTo>
                  <a:pt x="122555" y="255536"/>
                </a:lnTo>
                <a:lnTo>
                  <a:pt x="102907" y="258578"/>
                </a:lnTo>
                <a:lnTo>
                  <a:pt x="223396" y="258578"/>
                </a:lnTo>
                <a:lnTo>
                  <a:pt x="223396" y="5863"/>
                </a:lnTo>
                <a:lnTo>
                  <a:pt x="2175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6" name="object 6"/>
          <p:cNvSpPr/>
          <p:nvPr/>
        </p:nvSpPr>
        <p:spPr>
          <a:xfrm>
            <a:off x="1859733" y="525500"/>
            <a:ext cx="108973" cy="230654"/>
          </a:xfrm>
          <a:custGeom>
            <a:avLst/>
            <a:gdLst/>
            <a:ahLst/>
            <a:cxnLst/>
            <a:rect l="l" t="t" r="r" b="b"/>
            <a:pathLst>
              <a:path w="179705" h="380365">
                <a:moveTo>
                  <a:pt x="84761" y="117294"/>
                </a:moveTo>
                <a:lnTo>
                  <a:pt x="31978" y="117294"/>
                </a:lnTo>
                <a:lnTo>
                  <a:pt x="31978" y="277782"/>
                </a:lnTo>
                <a:lnTo>
                  <a:pt x="38368" y="322789"/>
                </a:lnTo>
                <a:lnTo>
                  <a:pt x="57504" y="354753"/>
                </a:lnTo>
                <a:lnTo>
                  <a:pt x="89338" y="373822"/>
                </a:lnTo>
                <a:lnTo>
                  <a:pt x="133817" y="380145"/>
                </a:lnTo>
                <a:lnTo>
                  <a:pt x="141367" y="379861"/>
                </a:lnTo>
                <a:lnTo>
                  <a:pt x="149415" y="379077"/>
                </a:lnTo>
                <a:lnTo>
                  <a:pt x="157661" y="377892"/>
                </a:lnTo>
                <a:lnTo>
                  <a:pt x="165806" y="376407"/>
                </a:lnTo>
                <a:lnTo>
                  <a:pt x="173272" y="375349"/>
                </a:lnTo>
                <a:lnTo>
                  <a:pt x="179669" y="367884"/>
                </a:lnTo>
                <a:lnTo>
                  <a:pt x="179669" y="337487"/>
                </a:lnTo>
                <a:lnTo>
                  <a:pt x="178200" y="336419"/>
                </a:lnTo>
                <a:lnTo>
                  <a:pt x="139147" y="336419"/>
                </a:lnTo>
                <a:lnTo>
                  <a:pt x="114906" y="332678"/>
                </a:lnTo>
                <a:lnTo>
                  <a:pt x="97960" y="321291"/>
                </a:lnTo>
                <a:lnTo>
                  <a:pt x="88011" y="302007"/>
                </a:lnTo>
                <a:lnTo>
                  <a:pt x="84761" y="274578"/>
                </a:lnTo>
                <a:lnTo>
                  <a:pt x="84761" y="117294"/>
                </a:lnTo>
                <a:close/>
              </a:path>
              <a:path w="179705" h="380365">
                <a:moveTo>
                  <a:pt x="173806" y="333225"/>
                </a:moveTo>
                <a:lnTo>
                  <a:pt x="139147" y="336419"/>
                </a:lnTo>
                <a:lnTo>
                  <a:pt x="178200" y="336419"/>
                </a:lnTo>
                <a:lnTo>
                  <a:pt x="173806" y="333225"/>
                </a:lnTo>
                <a:close/>
              </a:path>
              <a:path w="179705" h="380365">
                <a:moveTo>
                  <a:pt x="164738" y="74646"/>
                </a:moveTo>
                <a:lnTo>
                  <a:pt x="6397" y="74646"/>
                </a:lnTo>
                <a:lnTo>
                  <a:pt x="0" y="80510"/>
                </a:lnTo>
                <a:lnTo>
                  <a:pt x="0" y="111431"/>
                </a:lnTo>
                <a:lnTo>
                  <a:pt x="6397" y="117294"/>
                </a:lnTo>
                <a:lnTo>
                  <a:pt x="164738" y="117294"/>
                </a:lnTo>
                <a:lnTo>
                  <a:pt x="171136" y="111431"/>
                </a:lnTo>
                <a:lnTo>
                  <a:pt x="171136" y="80510"/>
                </a:lnTo>
                <a:lnTo>
                  <a:pt x="164738" y="74646"/>
                </a:lnTo>
                <a:close/>
              </a:path>
              <a:path w="179705" h="380365">
                <a:moveTo>
                  <a:pt x="78898" y="0"/>
                </a:moveTo>
                <a:lnTo>
                  <a:pt x="44783" y="0"/>
                </a:lnTo>
                <a:lnTo>
                  <a:pt x="38386" y="5863"/>
                </a:lnTo>
                <a:lnTo>
                  <a:pt x="37841" y="13329"/>
                </a:lnTo>
                <a:lnTo>
                  <a:pt x="33046" y="74646"/>
                </a:lnTo>
                <a:lnTo>
                  <a:pt x="84761" y="74646"/>
                </a:lnTo>
                <a:lnTo>
                  <a:pt x="84761" y="5863"/>
                </a:lnTo>
                <a:lnTo>
                  <a:pt x="788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7" name="object 7"/>
          <p:cNvSpPr/>
          <p:nvPr/>
        </p:nvSpPr>
        <p:spPr>
          <a:xfrm>
            <a:off x="2009105" y="567852"/>
            <a:ext cx="80478" cy="184061"/>
          </a:xfrm>
          <a:custGeom>
            <a:avLst/>
            <a:gdLst/>
            <a:ahLst/>
            <a:cxnLst/>
            <a:rect l="l" t="t" r="r" b="b"/>
            <a:pathLst>
              <a:path w="132714" h="303530">
                <a:moveTo>
                  <a:pt x="39988" y="4795"/>
                </a:moveTo>
                <a:lnTo>
                  <a:pt x="5874" y="4795"/>
                </a:lnTo>
                <a:lnTo>
                  <a:pt x="0" y="10669"/>
                </a:lnTo>
                <a:lnTo>
                  <a:pt x="0" y="297509"/>
                </a:lnTo>
                <a:lnTo>
                  <a:pt x="5874" y="303372"/>
                </a:lnTo>
                <a:lnTo>
                  <a:pt x="46920" y="303372"/>
                </a:lnTo>
                <a:lnTo>
                  <a:pt x="52783" y="297509"/>
                </a:lnTo>
                <a:lnTo>
                  <a:pt x="52783" y="87442"/>
                </a:lnTo>
                <a:lnTo>
                  <a:pt x="66213" y="70760"/>
                </a:lnTo>
                <a:lnTo>
                  <a:pt x="83441" y="57981"/>
                </a:lnTo>
                <a:lnTo>
                  <a:pt x="102268" y="49801"/>
                </a:lnTo>
                <a:lnTo>
                  <a:pt x="120498" y="46920"/>
                </a:lnTo>
                <a:lnTo>
                  <a:pt x="127430" y="46920"/>
                </a:lnTo>
                <a:lnTo>
                  <a:pt x="132226" y="42647"/>
                </a:lnTo>
                <a:lnTo>
                  <a:pt x="132226" y="41056"/>
                </a:lnTo>
                <a:lnTo>
                  <a:pt x="50124" y="41056"/>
                </a:lnTo>
                <a:lnTo>
                  <a:pt x="47988" y="18125"/>
                </a:lnTo>
                <a:lnTo>
                  <a:pt x="46920" y="10669"/>
                </a:lnTo>
                <a:lnTo>
                  <a:pt x="39988" y="4795"/>
                </a:lnTo>
                <a:close/>
              </a:path>
              <a:path w="132714" h="303530">
                <a:moveTo>
                  <a:pt x="127430" y="0"/>
                </a:moveTo>
                <a:lnTo>
                  <a:pt x="119964" y="0"/>
                </a:lnTo>
                <a:lnTo>
                  <a:pt x="102829" y="2966"/>
                </a:lnTo>
                <a:lnTo>
                  <a:pt x="83246" y="11332"/>
                </a:lnTo>
                <a:lnTo>
                  <a:pt x="64561" y="24295"/>
                </a:lnTo>
                <a:lnTo>
                  <a:pt x="50124" y="41056"/>
                </a:lnTo>
                <a:lnTo>
                  <a:pt x="132226" y="41056"/>
                </a:lnTo>
                <a:lnTo>
                  <a:pt x="132226" y="4272"/>
                </a:lnTo>
                <a:lnTo>
                  <a:pt x="12743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8" name="object 8"/>
          <p:cNvSpPr/>
          <p:nvPr/>
        </p:nvSpPr>
        <p:spPr>
          <a:xfrm>
            <a:off x="2124215" y="509336"/>
            <a:ext cx="39276" cy="242591"/>
          </a:xfrm>
          <a:custGeom>
            <a:avLst/>
            <a:gdLst/>
            <a:ahLst/>
            <a:cxnLst/>
            <a:rect l="l" t="t" r="r" b="b"/>
            <a:pathLst>
              <a:path w="64770" h="400050">
                <a:moveTo>
                  <a:pt x="31454" y="0"/>
                </a:moveTo>
                <a:lnTo>
                  <a:pt x="18667" y="1858"/>
                </a:lnTo>
                <a:lnTo>
                  <a:pt x="8730" y="7665"/>
                </a:lnTo>
                <a:lnTo>
                  <a:pt x="2290" y="17771"/>
                </a:lnTo>
                <a:lnTo>
                  <a:pt x="0" y="32522"/>
                </a:lnTo>
                <a:lnTo>
                  <a:pt x="2290" y="46573"/>
                </a:lnTo>
                <a:lnTo>
                  <a:pt x="8730" y="56177"/>
                </a:lnTo>
                <a:lnTo>
                  <a:pt x="18667" y="61684"/>
                </a:lnTo>
                <a:lnTo>
                  <a:pt x="31454" y="63443"/>
                </a:lnTo>
                <a:lnTo>
                  <a:pt x="44942" y="61684"/>
                </a:lnTo>
                <a:lnTo>
                  <a:pt x="55380" y="56177"/>
                </a:lnTo>
                <a:lnTo>
                  <a:pt x="62120" y="46573"/>
                </a:lnTo>
                <a:lnTo>
                  <a:pt x="64511" y="32522"/>
                </a:lnTo>
                <a:lnTo>
                  <a:pt x="62120" y="17771"/>
                </a:lnTo>
                <a:lnTo>
                  <a:pt x="55380" y="7665"/>
                </a:lnTo>
                <a:lnTo>
                  <a:pt x="44942" y="1858"/>
                </a:lnTo>
                <a:lnTo>
                  <a:pt x="31454" y="0"/>
                </a:lnTo>
                <a:close/>
              </a:path>
              <a:path w="64770" h="400050">
                <a:moveTo>
                  <a:pt x="53317" y="101295"/>
                </a:moveTo>
                <a:lnTo>
                  <a:pt x="12261" y="101295"/>
                </a:lnTo>
                <a:lnTo>
                  <a:pt x="6397" y="107159"/>
                </a:lnTo>
                <a:lnTo>
                  <a:pt x="6397" y="393998"/>
                </a:lnTo>
                <a:lnTo>
                  <a:pt x="12261" y="399872"/>
                </a:lnTo>
                <a:lnTo>
                  <a:pt x="53317" y="399872"/>
                </a:lnTo>
                <a:lnTo>
                  <a:pt x="59181" y="393998"/>
                </a:lnTo>
                <a:lnTo>
                  <a:pt x="59181" y="107159"/>
                </a:lnTo>
                <a:lnTo>
                  <a:pt x="53317" y="10129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9" name="object 9"/>
          <p:cNvSpPr/>
          <p:nvPr/>
        </p:nvSpPr>
        <p:spPr>
          <a:xfrm>
            <a:off x="2214749" y="509340"/>
            <a:ext cx="32345" cy="242591"/>
          </a:xfrm>
          <a:custGeom>
            <a:avLst/>
            <a:gdLst/>
            <a:ahLst/>
            <a:cxnLst/>
            <a:rect l="l" t="t" r="r" b="b"/>
            <a:pathLst>
              <a:path w="53339" h="400050">
                <a:moveTo>
                  <a:pt x="46920" y="0"/>
                </a:moveTo>
                <a:lnTo>
                  <a:pt x="5863" y="0"/>
                </a:lnTo>
                <a:lnTo>
                  <a:pt x="0" y="5853"/>
                </a:lnTo>
                <a:lnTo>
                  <a:pt x="0" y="393998"/>
                </a:lnTo>
                <a:lnTo>
                  <a:pt x="5863" y="399862"/>
                </a:lnTo>
                <a:lnTo>
                  <a:pt x="46920" y="399862"/>
                </a:lnTo>
                <a:lnTo>
                  <a:pt x="52783" y="393998"/>
                </a:lnTo>
                <a:lnTo>
                  <a:pt x="52783" y="5853"/>
                </a:lnTo>
                <a:lnTo>
                  <a:pt x="4692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294936" y="567529"/>
            <a:ext cx="141319" cy="187526"/>
          </a:xfrm>
          <a:custGeom>
            <a:avLst/>
            <a:gdLst/>
            <a:ahLst/>
            <a:cxnLst/>
            <a:rect l="l" t="t" r="r" b="b"/>
            <a:pathLst>
              <a:path w="233045" h="309244">
                <a:moveTo>
                  <a:pt x="116226" y="0"/>
                </a:moveTo>
                <a:lnTo>
                  <a:pt x="67926" y="7573"/>
                </a:lnTo>
                <a:lnTo>
                  <a:pt x="31322" y="29391"/>
                </a:lnTo>
                <a:lnTo>
                  <a:pt x="8113" y="64105"/>
                </a:lnTo>
                <a:lnTo>
                  <a:pt x="0" y="110363"/>
                </a:lnTo>
                <a:lnTo>
                  <a:pt x="0" y="198873"/>
                </a:lnTo>
                <a:lnTo>
                  <a:pt x="8113" y="245131"/>
                </a:lnTo>
                <a:lnTo>
                  <a:pt x="31322" y="279844"/>
                </a:lnTo>
                <a:lnTo>
                  <a:pt x="67926" y="301663"/>
                </a:lnTo>
                <a:lnTo>
                  <a:pt x="116226" y="309236"/>
                </a:lnTo>
                <a:lnTo>
                  <a:pt x="164752" y="301663"/>
                </a:lnTo>
                <a:lnTo>
                  <a:pt x="201331" y="279844"/>
                </a:lnTo>
                <a:lnTo>
                  <a:pt x="211211" y="264986"/>
                </a:lnTo>
                <a:lnTo>
                  <a:pt x="116226" y="264986"/>
                </a:lnTo>
                <a:lnTo>
                  <a:pt x="89218" y="260328"/>
                </a:lnTo>
                <a:lnTo>
                  <a:pt x="69309" y="246522"/>
                </a:lnTo>
                <a:lnTo>
                  <a:pt x="56998" y="223820"/>
                </a:lnTo>
                <a:lnTo>
                  <a:pt x="52783" y="192475"/>
                </a:lnTo>
                <a:lnTo>
                  <a:pt x="52783" y="116760"/>
                </a:lnTo>
                <a:lnTo>
                  <a:pt x="56998" y="85411"/>
                </a:lnTo>
                <a:lnTo>
                  <a:pt x="69309" y="62710"/>
                </a:lnTo>
                <a:lnTo>
                  <a:pt x="89218" y="48906"/>
                </a:lnTo>
                <a:lnTo>
                  <a:pt x="116226" y="44249"/>
                </a:lnTo>
                <a:lnTo>
                  <a:pt x="211211" y="44249"/>
                </a:lnTo>
                <a:lnTo>
                  <a:pt x="201331" y="29391"/>
                </a:lnTo>
                <a:lnTo>
                  <a:pt x="164752" y="7573"/>
                </a:lnTo>
                <a:lnTo>
                  <a:pt x="116226" y="0"/>
                </a:lnTo>
                <a:close/>
              </a:path>
              <a:path w="233045" h="309244">
                <a:moveTo>
                  <a:pt x="211211" y="44249"/>
                </a:moveTo>
                <a:lnTo>
                  <a:pt x="116226" y="44249"/>
                </a:lnTo>
                <a:lnTo>
                  <a:pt x="143456" y="48906"/>
                </a:lnTo>
                <a:lnTo>
                  <a:pt x="163340" y="62710"/>
                </a:lnTo>
                <a:lnTo>
                  <a:pt x="175529" y="85411"/>
                </a:lnTo>
                <a:lnTo>
                  <a:pt x="179669" y="116760"/>
                </a:lnTo>
                <a:lnTo>
                  <a:pt x="179669" y="192475"/>
                </a:lnTo>
                <a:lnTo>
                  <a:pt x="175529" y="223820"/>
                </a:lnTo>
                <a:lnTo>
                  <a:pt x="163340" y="246522"/>
                </a:lnTo>
                <a:lnTo>
                  <a:pt x="143456" y="260328"/>
                </a:lnTo>
                <a:lnTo>
                  <a:pt x="116226" y="264986"/>
                </a:lnTo>
                <a:lnTo>
                  <a:pt x="211211" y="264986"/>
                </a:lnTo>
                <a:lnTo>
                  <a:pt x="224414" y="245131"/>
                </a:lnTo>
                <a:lnTo>
                  <a:pt x="232453" y="198873"/>
                </a:lnTo>
                <a:lnTo>
                  <a:pt x="232453" y="110363"/>
                </a:lnTo>
                <a:lnTo>
                  <a:pt x="224414" y="64105"/>
                </a:lnTo>
                <a:lnTo>
                  <a:pt x="211211" y="442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2470813" y="546513"/>
            <a:ext cx="138238" cy="257223"/>
          </a:xfrm>
          <a:custGeom>
            <a:avLst/>
            <a:gdLst/>
            <a:ahLst/>
            <a:cxnLst/>
            <a:rect l="l" t="t" r="r" b="b"/>
            <a:pathLst>
              <a:path w="227964" h="424180">
                <a:moveTo>
                  <a:pt x="31967" y="359057"/>
                </a:moveTo>
                <a:lnTo>
                  <a:pt x="23747" y="360167"/>
                </a:lnTo>
                <a:lnTo>
                  <a:pt x="3078" y="387318"/>
                </a:lnTo>
                <a:lnTo>
                  <a:pt x="3863" y="395956"/>
                </a:lnTo>
                <a:lnTo>
                  <a:pt x="44443" y="419044"/>
                </a:lnTo>
                <a:lnTo>
                  <a:pt x="84772" y="423861"/>
                </a:lnTo>
                <a:lnTo>
                  <a:pt x="128488" y="423861"/>
                </a:lnTo>
                <a:lnTo>
                  <a:pt x="169851" y="418672"/>
                </a:lnTo>
                <a:lnTo>
                  <a:pt x="201067" y="403138"/>
                </a:lnTo>
                <a:lnTo>
                  <a:pt x="216580" y="382815"/>
                </a:lnTo>
                <a:lnTo>
                  <a:pt x="89567" y="382815"/>
                </a:lnTo>
                <a:lnTo>
                  <a:pt x="74467" y="381800"/>
                </a:lnTo>
                <a:lnTo>
                  <a:pt x="62138" y="378505"/>
                </a:lnTo>
                <a:lnTo>
                  <a:pt x="50607" y="372553"/>
                </a:lnTo>
                <a:lnTo>
                  <a:pt x="37904" y="363570"/>
                </a:lnTo>
                <a:lnTo>
                  <a:pt x="31967" y="359057"/>
                </a:lnTo>
                <a:close/>
              </a:path>
              <a:path w="227964" h="424180">
                <a:moveTo>
                  <a:pt x="101295" y="34658"/>
                </a:moveTo>
                <a:lnTo>
                  <a:pt x="59378" y="41189"/>
                </a:lnTo>
                <a:lnTo>
                  <a:pt x="27457" y="58915"/>
                </a:lnTo>
                <a:lnTo>
                  <a:pt x="7131" y="85039"/>
                </a:lnTo>
                <a:lnTo>
                  <a:pt x="0" y="116760"/>
                </a:lnTo>
                <a:lnTo>
                  <a:pt x="0" y="150885"/>
                </a:lnTo>
                <a:lnTo>
                  <a:pt x="2123" y="166990"/>
                </a:lnTo>
                <a:lnTo>
                  <a:pt x="8196" y="182546"/>
                </a:lnTo>
                <a:lnTo>
                  <a:pt x="17766" y="196402"/>
                </a:lnTo>
                <a:lnTo>
                  <a:pt x="30386" y="207407"/>
                </a:lnTo>
                <a:lnTo>
                  <a:pt x="25095" y="216002"/>
                </a:lnTo>
                <a:lnTo>
                  <a:pt x="21255" y="224998"/>
                </a:lnTo>
                <a:lnTo>
                  <a:pt x="18915" y="234394"/>
                </a:lnTo>
                <a:lnTo>
                  <a:pt x="18125" y="244191"/>
                </a:lnTo>
                <a:lnTo>
                  <a:pt x="18625" y="252071"/>
                </a:lnTo>
                <a:lnTo>
                  <a:pt x="37410" y="288958"/>
                </a:lnTo>
                <a:lnTo>
                  <a:pt x="89567" y="303372"/>
                </a:lnTo>
                <a:lnTo>
                  <a:pt x="123158" y="303372"/>
                </a:lnTo>
                <a:lnTo>
                  <a:pt x="146086" y="305563"/>
                </a:lnTo>
                <a:lnTo>
                  <a:pt x="162213" y="312502"/>
                </a:lnTo>
                <a:lnTo>
                  <a:pt x="171742" y="324739"/>
                </a:lnTo>
                <a:lnTo>
                  <a:pt x="174874" y="342827"/>
                </a:lnTo>
                <a:lnTo>
                  <a:pt x="171742" y="360998"/>
                </a:lnTo>
                <a:lnTo>
                  <a:pt x="162213" y="373419"/>
                </a:lnTo>
                <a:lnTo>
                  <a:pt x="146086" y="380541"/>
                </a:lnTo>
                <a:lnTo>
                  <a:pt x="123158" y="382815"/>
                </a:lnTo>
                <a:lnTo>
                  <a:pt x="216580" y="382815"/>
                </a:lnTo>
                <a:lnTo>
                  <a:pt x="220785" y="377306"/>
                </a:lnTo>
                <a:lnTo>
                  <a:pt x="227657" y="341225"/>
                </a:lnTo>
                <a:lnTo>
                  <a:pt x="221075" y="307695"/>
                </a:lnTo>
                <a:lnTo>
                  <a:pt x="202196" y="283312"/>
                </a:lnTo>
                <a:lnTo>
                  <a:pt x="172321" y="268424"/>
                </a:lnTo>
                <a:lnTo>
                  <a:pt x="141135" y="264452"/>
                </a:lnTo>
                <a:lnTo>
                  <a:pt x="73578" y="264452"/>
                </a:lnTo>
                <a:lnTo>
                  <a:pt x="69306" y="259123"/>
                </a:lnTo>
                <a:lnTo>
                  <a:pt x="66113" y="252191"/>
                </a:lnTo>
                <a:lnTo>
                  <a:pt x="66113" y="236191"/>
                </a:lnTo>
                <a:lnTo>
                  <a:pt x="69306" y="229794"/>
                </a:lnTo>
                <a:lnTo>
                  <a:pt x="74102" y="225532"/>
                </a:lnTo>
                <a:lnTo>
                  <a:pt x="124259" y="225532"/>
                </a:lnTo>
                <a:lnTo>
                  <a:pt x="145099" y="222336"/>
                </a:lnTo>
                <a:lnTo>
                  <a:pt x="176473" y="205201"/>
                </a:lnTo>
                <a:lnTo>
                  <a:pt x="190004" y="188214"/>
                </a:lnTo>
                <a:lnTo>
                  <a:pt x="101295" y="188214"/>
                </a:lnTo>
                <a:lnTo>
                  <a:pt x="80729" y="185055"/>
                </a:lnTo>
                <a:lnTo>
                  <a:pt x="65110" y="176147"/>
                </a:lnTo>
                <a:lnTo>
                  <a:pt x="55189" y="162341"/>
                </a:lnTo>
                <a:lnTo>
                  <a:pt x="51715" y="144487"/>
                </a:lnTo>
                <a:lnTo>
                  <a:pt x="51715" y="119964"/>
                </a:lnTo>
                <a:lnTo>
                  <a:pt x="55189" y="102196"/>
                </a:lnTo>
                <a:lnTo>
                  <a:pt x="65112" y="88576"/>
                </a:lnTo>
                <a:lnTo>
                  <a:pt x="80729" y="79856"/>
                </a:lnTo>
                <a:lnTo>
                  <a:pt x="101295" y="76783"/>
                </a:lnTo>
                <a:lnTo>
                  <a:pt x="197917" y="76783"/>
                </a:lnTo>
                <a:lnTo>
                  <a:pt x="207020" y="69230"/>
                </a:lnTo>
                <a:lnTo>
                  <a:pt x="217325" y="55985"/>
                </a:lnTo>
                <a:lnTo>
                  <a:pt x="219812" y="50124"/>
                </a:lnTo>
                <a:lnTo>
                  <a:pt x="162612" y="50124"/>
                </a:lnTo>
                <a:lnTo>
                  <a:pt x="150107" y="43882"/>
                </a:lnTo>
                <a:lnTo>
                  <a:pt x="135354" y="38990"/>
                </a:lnTo>
                <a:lnTo>
                  <a:pt x="118901" y="35799"/>
                </a:lnTo>
                <a:lnTo>
                  <a:pt x="101295" y="34658"/>
                </a:lnTo>
                <a:close/>
              </a:path>
              <a:path w="227964" h="424180">
                <a:moveTo>
                  <a:pt x="132749" y="263384"/>
                </a:moveTo>
                <a:lnTo>
                  <a:pt x="85306" y="263384"/>
                </a:lnTo>
                <a:lnTo>
                  <a:pt x="78908" y="263918"/>
                </a:lnTo>
                <a:lnTo>
                  <a:pt x="73578" y="264452"/>
                </a:lnTo>
                <a:lnTo>
                  <a:pt x="141135" y="264452"/>
                </a:lnTo>
                <a:lnTo>
                  <a:pt x="132749" y="263384"/>
                </a:lnTo>
                <a:close/>
              </a:path>
              <a:path w="227964" h="424180">
                <a:moveTo>
                  <a:pt x="124259" y="225532"/>
                </a:moveTo>
                <a:lnTo>
                  <a:pt x="74102" y="225532"/>
                </a:lnTo>
                <a:lnTo>
                  <a:pt x="80859" y="226932"/>
                </a:lnTo>
                <a:lnTo>
                  <a:pt x="88166" y="227930"/>
                </a:lnTo>
                <a:lnTo>
                  <a:pt x="95772" y="228527"/>
                </a:lnTo>
                <a:lnTo>
                  <a:pt x="103431" y="228726"/>
                </a:lnTo>
                <a:lnTo>
                  <a:pt x="124259" y="225532"/>
                </a:lnTo>
                <a:close/>
              </a:path>
              <a:path w="227964" h="424180">
                <a:moveTo>
                  <a:pt x="197917" y="76783"/>
                </a:moveTo>
                <a:lnTo>
                  <a:pt x="101295" y="76783"/>
                </a:lnTo>
                <a:lnTo>
                  <a:pt x="122176" y="79856"/>
                </a:lnTo>
                <a:lnTo>
                  <a:pt x="137956" y="88577"/>
                </a:lnTo>
                <a:lnTo>
                  <a:pt x="147937" y="102196"/>
                </a:lnTo>
                <a:lnTo>
                  <a:pt x="151419" y="119964"/>
                </a:lnTo>
                <a:lnTo>
                  <a:pt x="151419" y="144487"/>
                </a:lnTo>
                <a:lnTo>
                  <a:pt x="147937" y="162341"/>
                </a:lnTo>
                <a:lnTo>
                  <a:pt x="137956" y="176147"/>
                </a:lnTo>
                <a:lnTo>
                  <a:pt x="122176" y="185055"/>
                </a:lnTo>
                <a:lnTo>
                  <a:pt x="101295" y="188214"/>
                </a:lnTo>
                <a:lnTo>
                  <a:pt x="190004" y="188214"/>
                </a:lnTo>
                <a:lnTo>
                  <a:pt x="196252" y="180368"/>
                </a:lnTo>
                <a:lnTo>
                  <a:pt x="203135" y="150885"/>
                </a:lnTo>
                <a:lnTo>
                  <a:pt x="203135" y="116760"/>
                </a:lnTo>
                <a:lnTo>
                  <a:pt x="202542" y="107566"/>
                </a:lnTo>
                <a:lnTo>
                  <a:pt x="200800" y="97972"/>
                </a:lnTo>
                <a:lnTo>
                  <a:pt x="197957" y="88576"/>
                </a:lnTo>
                <a:lnTo>
                  <a:pt x="194067" y="79976"/>
                </a:lnTo>
                <a:lnTo>
                  <a:pt x="197917" y="76783"/>
                </a:lnTo>
                <a:close/>
              </a:path>
              <a:path w="227964" h="424180">
                <a:moveTo>
                  <a:pt x="220726" y="0"/>
                </a:moveTo>
                <a:lnTo>
                  <a:pt x="182874" y="0"/>
                </a:lnTo>
                <a:lnTo>
                  <a:pt x="178612" y="3738"/>
                </a:lnTo>
                <a:lnTo>
                  <a:pt x="178612" y="13863"/>
                </a:lnTo>
                <a:lnTo>
                  <a:pt x="177612" y="25374"/>
                </a:lnTo>
                <a:lnTo>
                  <a:pt x="174613" y="35190"/>
                </a:lnTo>
                <a:lnTo>
                  <a:pt x="169614" y="43407"/>
                </a:lnTo>
                <a:lnTo>
                  <a:pt x="162612" y="50124"/>
                </a:lnTo>
                <a:lnTo>
                  <a:pt x="219812" y="50124"/>
                </a:lnTo>
                <a:lnTo>
                  <a:pt x="224132" y="39940"/>
                </a:lnTo>
                <a:lnTo>
                  <a:pt x="226589" y="20795"/>
                </a:lnTo>
                <a:lnTo>
                  <a:pt x="226589" y="18125"/>
                </a:lnTo>
                <a:lnTo>
                  <a:pt x="226055" y="12261"/>
                </a:lnTo>
                <a:lnTo>
                  <a:pt x="225521" y="10669"/>
                </a:lnTo>
                <a:lnTo>
                  <a:pt x="224987" y="4272"/>
                </a:lnTo>
                <a:lnTo>
                  <a:pt x="22072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2641202" y="509336"/>
            <a:ext cx="39276" cy="242591"/>
          </a:xfrm>
          <a:custGeom>
            <a:avLst/>
            <a:gdLst/>
            <a:ahLst/>
            <a:cxnLst/>
            <a:rect l="l" t="t" r="r" b="b"/>
            <a:pathLst>
              <a:path w="64770" h="400050">
                <a:moveTo>
                  <a:pt x="31454" y="0"/>
                </a:moveTo>
                <a:lnTo>
                  <a:pt x="18667" y="1858"/>
                </a:lnTo>
                <a:lnTo>
                  <a:pt x="8730" y="7665"/>
                </a:lnTo>
                <a:lnTo>
                  <a:pt x="2290" y="17771"/>
                </a:lnTo>
                <a:lnTo>
                  <a:pt x="0" y="32522"/>
                </a:lnTo>
                <a:lnTo>
                  <a:pt x="2290" y="46573"/>
                </a:lnTo>
                <a:lnTo>
                  <a:pt x="8730" y="56177"/>
                </a:lnTo>
                <a:lnTo>
                  <a:pt x="18667" y="61684"/>
                </a:lnTo>
                <a:lnTo>
                  <a:pt x="31454" y="63443"/>
                </a:lnTo>
                <a:lnTo>
                  <a:pt x="44942" y="61684"/>
                </a:lnTo>
                <a:lnTo>
                  <a:pt x="55380" y="56177"/>
                </a:lnTo>
                <a:lnTo>
                  <a:pt x="62120" y="46573"/>
                </a:lnTo>
                <a:lnTo>
                  <a:pt x="64511" y="32522"/>
                </a:lnTo>
                <a:lnTo>
                  <a:pt x="62120" y="17771"/>
                </a:lnTo>
                <a:lnTo>
                  <a:pt x="55380" y="7665"/>
                </a:lnTo>
                <a:lnTo>
                  <a:pt x="44942" y="1858"/>
                </a:lnTo>
                <a:lnTo>
                  <a:pt x="31454" y="0"/>
                </a:lnTo>
                <a:close/>
              </a:path>
              <a:path w="64770" h="400050">
                <a:moveTo>
                  <a:pt x="53317" y="101295"/>
                </a:moveTo>
                <a:lnTo>
                  <a:pt x="12261" y="101295"/>
                </a:lnTo>
                <a:lnTo>
                  <a:pt x="6397" y="107159"/>
                </a:lnTo>
                <a:lnTo>
                  <a:pt x="6397" y="393998"/>
                </a:lnTo>
                <a:lnTo>
                  <a:pt x="12261" y="399872"/>
                </a:lnTo>
                <a:lnTo>
                  <a:pt x="53317" y="399872"/>
                </a:lnTo>
                <a:lnTo>
                  <a:pt x="59181" y="393998"/>
                </a:lnTo>
                <a:lnTo>
                  <a:pt x="59181" y="107159"/>
                </a:lnTo>
                <a:lnTo>
                  <a:pt x="53317" y="10129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2727850" y="567533"/>
            <a:ext cx="140549" cy="187526"/>
          </a:xfrm>
          <a:custGeom>
            <a:avLst/>
            <a:gdLst/>
            <a:ahLst/>
            <a:cxnLst/>
            <a:rect l="l" t="t" r="r" b="b"/>
            <a:pathLst>
              <a:path w="231775" h="309244">
                <a:moveTo>
                  <a:pt x="116237" y="0"/>
                </a:moveTo>
                <a:lnTo>
                  <a:pt x="67935" y="7571"/>
                </a:lnTo>
                <a:lnTo>
                  <a:pt x="31327" y="29387"/>
                </a:lnTo>
                <a:lnTo>
                  <a:pt x="8115" y="64100"/>
                </a:lnTo>
                <a:lnTo>
                  <a:pt x="0" y="110363"/>
                </a:lnTo>
                <a:lnTo>
                  <a:pt x="0" y="198863"/>
                </a:lnTo>
                <a:lnTo>
                  <a:pt x="8115" y="245125"/>
                </a:lnTo>
                <a:lnTo>
                  <a:pt x="31327" y="279838"/>
                </a:lnTo>
                <a:lnTo>
                  <a:pt x="67935" y="301654"/>
                </a:lnTo>
                <a:lnTo>
                  <a:pt x="116237" y="309226"/>
                </a:lnTo>
                <a:lnTo>
                  <a:pt x="165271" y="301670"/>
                </a:lnTo>
                <a:lnTo>
                  <a:pt x="201408" y="281170"/>
                </a:lnTo>
                <a:lnTo>
                  <a:pt x="213785" y="264442"/>
                </a:lnTo>
                <a:lnTo>
                  <a:pt x="116237" y="264442"/>
                </a:lnTo>
                <a:lnTo>
                  <a:pt x="89227" y="259869"/>
                </a:lnTo>
                <a:lnTo>
                  <a:pt x="69314" y="246250"/>
                </a:lnTo>
                <a:lnTo>
                  <a:pt x="56999" y="223735"/>
                </a:lnTo>
                <a:lnTo>
                  <a:pt x="52783" y="192475"/>
                </a:lnTo>
                <a:lnTo>
                  <a:pt x="52783" y="116760"/>
                </a:lnTo>
                <a:lnTo>
                  <a:pt x="56999" y="85494"/>
                </a:lnTo>
                <a:lnTo>
                  <a:pt x="69314" y="62977"/>
                </a:lnTo>
                <a:lnTo>
                  <a:pt x="89227" y="49357"/>
                </a:lnTo>
                <a:lnTo>
                  <a:pt x="116237" y="44783"/>
                </a:lnTo>
                <a:lnTo>
                  <a:pt x="214580" y="44783"/>
                </a:lnTo>
                <a:lnTo>
                  <a:pt x="201408" y="27054"/>
                </a:lnTo>
                <a:lnTo>
                  <a:pt x="165271" y="7179"/>
                </a:lnTo>
                <a:lnTo>
                  <a:pt x="116237" y="0"/>
                </a:lnTo>
                <a:close/>
              </a:path>
              <a:path w="231775" h="309244">
                <a:moveTo>
                  <a:pt x="225532" y="201533"/>
                </a:moveTo>
                <a:lnTo>
                  <a:pt x="183408" y="201533"/>
                </a:lnTo>
                <a:lnTo>
                  <a:pt x="178612" y="206328"/>
                </a:lnTo>
                <a:lnTo>
                  <a:pt x="178612" y="214328"/>
                </a:lnTo>
                <a:lnTo>
                  <a:pt x="174938" y="233630"/>
                </a:lnTo>
                <a:lnTo>
                  <a:pt x="163618" y="249582"/>
                </a:lnTo>
                <a:lnTo>
                  <a:pt x="144200" y="260435"/>
                </a:lnTo>
                <a:lnTo>
                  <a:pt x="116237" y="264442"/>
                </a:lnTo>
                <a:lnTo>
                  <a:pt x="213785" y="264442"/>
                </a:lnTo>
                <a:lnTo>
                  <a:pt x="223749" y="250973"/>
                </a:lnTo>
                <a:lnTo>
                  <a:pt x="231396" y="214328"/>
                </a:lnTo>
                <a:lnTo>
                  <a:pt x="231396" y="206862"/>
                </a:lnTo>
                <a:lnTo>
                  <a:pt x="225532" y="201533"/>
                </a:lnTo>
                <a:close/>
              </a:path>
              <a:path w="231775" h="309244">
                <a:moveTo>
                  <a:pt x="214580" y="44783"/>
                </a:moveTo>
                <a:lnTo>
                  <a:pt x="116237" y="44783"/>
                </a:lnTo>
                <a:lnTo>
                  <a:pt x="143524" y="48649"/>
                </a:lnTo>
                <a:lnTo>
                  <a:pt x="163017" y="59313"/>
                </a:lnTo>
                <a:lnTo>
                  <a:pt x="174713" y="75374"/>
                </a:lnTo>
                <a:lnTo>
                  <a:pt x="178508" y="94897"/>
                </a:lnTo>
                <a:lnTo>
                  <a:pt x="178612" y="102897"/>
                </a:lnTo>
                <a:lnTo>
                  <a:pt x="183408" y="108227"/>
                </a:lnTo>
                <a:lnTo>
                  <a:pt x="226066" y="108227"/>
                </a:lnTo>
                <a:lnTo>
                  <a:pt x="231396" y="102897"/>
                </a:lnTo>
                <a:lnTo>
                  <a:pt x="231396" y="94897"/>
                </a:lnTo>
                <a:lnTo>
                  <a:pt x="223749" y="57125"/>
                </a:lnTo>
                <a:lnTo>
                  <a:pt x="214580" y="44783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976544" y="335641"/>
            <a:ext cx="293758" cy="40387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679856" y="431221"/>
            <a:ext cx="395831" cy="49283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678052" y="334086"/>
            <a:ext cx="569936" cy="59126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10848000" y="113949"/>
            <a:ext cx="1149706" cy="1122307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352365" y="5963553"/>
            <a:ext cx="3164540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algn="ctr"/>
            <a:r>
              <a:rPr lang="ru-RU" sz="1600" b="1" spc="6" dirty="0" smtClean="0">
                <a:solidFill>
                  <a:srgbClr val="808080"/>
                </a:solidFill>
                <a:latin typeface="Open Sans"/>
                <a:cs typeface="Open Sans"/>
              </a:rPr>
              <a:t>Москва</a:t>
            </a:r>
          </a:p>
          <a:p>
            <a:pPr marL="7701" algn="ctr"/>
            <a:r>
              <a:rPr lang="ru-RU" sz="1600" b="1" spc="6" dirty="0" smtClean="0">
                <a:solidFill>
                  <a:srgbClr val="808080"/>
                </a:solidFill>
                <a:latin typeface="Open Sans"/>
                <a:cs typeface="Open Sans"/>
              </a:rPr>
              <a:t>04 декабря 2018 г.</a:t>
            </a:r>
            <a:endParaRPr sz="1600" dirty="0">
              <a:solidFill>
                <a:prstClr val="black"/>
              </a:solidFill>
              <a:latin typeface="Open Sans"/>
              <a:cs typeface="Open Sans"/>
            </a:endParaRPr>
          </a:p>
        </p:txBody>
      </p:sp>
      <p:sp>
        <p:nvSpPr>
          <p:cNvPr id="19" name="Rectangle 3"/>
          <p:cNvSpPr txBox="1">
            <a:spLocks/>
          </p:cNvSpPr>
          <p:nvPr/>
        </p:nvSpPr>
        <p:spPr>
          <a:xfrm>
            <a:off x="3657600" y="3355653"/>
            <a:ext cx="4554071" cy="2417618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altLang="ru-RU" sz="2000" b="1" kern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огданов </a:t>
            </a:r>
            <a:r>
              <a:rPr lang="ru-RU" altLang="ru-RU" sz="2000" b="1" kern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льфред Равилевич</a:t>
            </a:r>
          </a:p>
          <a:p>
            <a:pPr algn="ctr"/>
            <a:endParaRPr lang="ru-RU" altLang="ru-RU" sz="1400" kern="0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altLang="ru-RU" sz="1400" kern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ктор </a:t>
            </a:r>
            <a:r>
              <a:rPr lang="ru-RU" altLang="ru-RU" sz="1400" kern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дицинских </a:t>
            </a:r>
            <a:r>
              <a:rPr lang="ru-RU" altLang="ru-RU" sz="1400" kern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ук</a:t>
            </a:r>
          </a:p>
          <a:p>
            <a:pPr algn="ctr"/>
            <a:endParaRPr lang="ru-RU" altLang="ru-RU" sz="1400" kern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ru-RU" altLang="ru-RU" sz="1400" kern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ведующий отделением </a:t>
            </a:r>
          </a:p>
          <a:p>
            <a:pPr algn="ctr"/>
            <a:r>
              <a:rPr lang="ru-RU" altLang="ru-RU" sz="1400" kern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ердечно-сосудистой патологии </a:t>
            </a:r>
          </a:p>
          <a:p>
            <a:pPr algn="ctr"/>
            <a:r>
              <a:rPr lang="ru-RU" altLang="ru-RU" sz="1400" kern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ФГБУН «ФИЦ питания и биотехнологии»,</a:t>
            </a:r>
          </a:p>
          <a:p>
            <a:pPr algn="ctr"/>
            <a:r>
              <a:rPr lang="ru-RU" altLang="ru-RU" sz="1400" kern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algn="ctr"/>
            <a:r>
              <a:rPr lang="ru-RU" altLang="ru-RU" sz="1400" kern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енеральный секретарь </a:t>
            </a:r>
            <a:r>
              <a:rPr lang="ru-RU" altLang="ru-RU" sz="1400" kern="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оСНДП</a:t>
            </a:r>
            <a:endParaRPr lang="ru-RU" altLang="ru-RU" sz="1400" kern="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endParaRPr lang="ru-RU" altLang="ru-RU" sz="1400" kern="0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3523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28" y="1176357"/>
            <a:ext cx="12191144" cy="556881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28" y="0"/>
            <a:ext cx="12191144" cy="138420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0381132" y="650214"/>
            <a:ext cx="119370" cy="164423"/>
          </a:xfrm>
          <a:custGeom>
            <a:avLst/>
            <a:gdLst/>
            <a:ahLst/>
            <a:cxnLst/>
            <a:rect l="l" t="t" r="r" b="b"/>
            <a:pathLst>
              <a:path w="196850" h="271144">
                <a:moveTo>
                  <a:pt x="41810" y="0"/>
                </a:moveTo>
                <a:lnTo>
                  <a:pt x="4251" y="0"/>
                </a:lnTo>
                <a:lnTo>
                  <a:pt x="0" y="4251"/>
                </a:lnTo>
                <a:lnTo>
                  <a:pt x="0" y="266777"/>
                </a:lnTo>
                <a:lnTo>
                  <a:pt x="4251" y="271038"/>
                </a:lnTo>
                <a:lnTo>
                  <a:pt x="35621" y="271038"/>
                </a:lnTo>
                <a:lnTo>
                  <a:pt x="40260" y="266777"/>
                </a:lnTo>
                <a:lnTo>
                  <a:pt x="39883" y="261353"/>
                </a:lnTo>
                <a:lnTo>
                  <a:pt x="39108" y="67369"/>
                </a:lnTo>
                <a:lnTo>
                  <a:pt x="82611" y="67369"/>
                </a:lnTo>
                <a:lnTo>
                  <a:pt x="50333" y="8523"/>
                </a:lnTo>
                <a:lnTo>
                  <a:pt x="47621" y="3476"/>
                </a:lnTo>
                <a:lnTo>
                  <a:pt x="41810" y="0"/>
                </a:lnTo>
                <a:close/>
              </a:path>
              <a:path w="196850" h="271144">
                <a:moveTo>
                  <a:pt x="82611" y="67369"/>
                </a:moveTo>
                <a:lnTo>
                  <a:pt x="39108" y="67369"/>
                </a:lnTo>
                <a:lnTo>
                  <a:pt x="145587" y="262526"/>
                </a:lnTo>
                <a:lnTo>
                  <a:pt x="148288" y="267552"/>
                </a:lnTo>
                <a:lnTo>
                  <a:pt x="154100" y="271038"/>
                </a:lnTo>
                <a:lnTo>
                  <a:pt x="192433" y="271038"/>
                </a:lnTo>
                <a:lnTo>
                  <a:pt x="196695" y="266777"/>
                </a:lnTo>
                <a:lnTo>
                  <a:pt x="196695" y="204056"/>
                </a:lnTo>
                <a:lnTo>
                  <a:pt x="157586" y="204056"/>
                </a:lnTo>
                <a:lnTo>
                  <a:pt x="82611" y="67369"/>
                </a:lnTo>
                <a:close/>
              </a:path>
              <a:path w="196850" h="271144">
                <a:moveTo>
                  <a:pt x="192433" y="0"/>
                </a:moveTo>
                <a:lnTo>
                  <a:pt x="161073" y="0"/>
                </a:lnTo>
                <a:lnTo>
                  <a:pt x="156811" y="4251"/>
                </a:lnTo>
                <a:lnTo>
                  <a:pt x="156811" y="9675"/>
                </a:lnTo>
                <a:lnTo>
                  <a:pt x="157586" y="204056"/>
                </a:lnTo>
                <a:lnTo>
                  <a:pt x="196695" y="204056"/>
                </a:lnTo>
                <a:lnTo>
                  <a:pt x="196695" y="4251"/>
                </a:lnTo>
                <a:lnTo>
                  <a:pt x="19243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0538446" y="683086"/>
            <a:ext cx="98577" cy="134002"/>
          </a:xfrm>
          <a:custGeom>
            <a:avLst/>
            <a:gdLst/>
            <a:ahLst/>
            <a:cxnLst/>
            <a:rect l="l" t="t" r="r" b="b"/>
            <a:pathLst>
              <a:path w="162559" h="220980">
                <a:moveTo>
                  <a:pt x="34082" y="0"/>
                </a:moveTo>
                <a:lnTo>
                  <a:pt x="4261" y="0"/>
                </a:lnTo>
                <a:lnTo>
                  <a:pt x="0" y="4251"/>
                </a:lnTo>
                <a:lnTo>
                  <a:pt x="0" y="147524"/>
                </a:lnTo>
                <a:lnTo>
                  <a:pt x="3449" y="179211"/>
                </a:lnTo>
                <a:lnTo>
                  <a:pt x="14814" y="202112"/>
                </a:lnTo>
                <a:lnTo>
                  <a:pt x="35617" y="216013"/>
                </a:lnTo>
                <a:lnTo>
                  <a:pt x="67380" y="220694"/>
                </a:lnTo>
                <a:lnTo>
                  <a:pt x="83700" y="218819"/>
                </a:lnTo>
                <a:lnTo>
                  <a:pt x="99224" y="213532"/>
                </a:lnTo>
                <a:lnTo>
                  <a:pt x="113441" y="205339"/>
                </a:lnTo>
                <a:lnTo>
                  <a:pt x="125839" y="194747"/>
                </a:lnTo>
                <a:lnTo>
                  <a:pt x="162246" y="194747"/>
                </a:lnTo>
                <a:lnTo>
                  <a:pt x="162246" y="187784"/>
                </a:lnTo>
                <a:lnTo>
                  <a:pt x="74741" y="187784"/>
                </a:lnTo>
                <a:lnTo>
                  <a:pt x="56636" y="185117"/>
                </a:lnTo>
                <a:lnTo>
                  <a:pt x="45505" y="176896"/>
                </a:lnTo>
                <a:lnTo>
                  <a:pt x="39892" y="162795"/>
                </a:lnTo>
                <a:lnTo>
                  <a:pt x="38344" y="142487"/>
                </a:lnTo>
                <a:lnTo>
                  <a:pt x="38344" y="4251"/>
                </a:lnTo>
                <a:lnTo>
                  <a:pt x="34082" y="0"/>
                </a:lnTo>
                <a:close/>
              </a:path>
              <a:path w="162559" h="220980">
                <a:moveTo>
                  <a:pt x="162246" y="194747"/>
                </a:moveTo>
                <a:lnTo>
                  <a:pt x="125839" y="194747"/>
                </a:lnTo>
                <a:lnTo>
                  <a:pt x="127001" y="207145"/>
                </a:lnTo>
                <a:lnTo>
                  <a:pt x="127388" y="212569"/>
                </a:lnTo>
                <a:lnTo>
                  <a:pt x="132425" y="216831"/>
                </a:lnTo>
                <a:lnTo>
                  <a:pt x="157984" y="216831"/>
                </a:lnTo>
                <a:lnTo>
                  <a:pt x="162246" y="212569"/>
                </a:lnTo>
                <a:lnTo>
                  <a:pt x="162246" y="194747"/>
                </a:lnTo>
                <a:close/>
              </a:path>
              <a:path w="162559" h="220980">
                <a:moveTo>
                  <a:pt x="157984" y="0"/>
                </a:moveTo>
                <a:lnTo>
                  <a:pt x="128174" y="0"/>
                </a:lnTo>
                <a:lnTo>
                  <a:pt x="123912" y="4251"/>
                </a:lnTo>
                <a:lnTo>
                  <a:pt x="123912" y="161461"/>
                </a:lnTo>
                <a:lnTo>
                  <a:pt x="114210" y="171290"/>
                </a:lnTo>
                <a:lnTo>
                  <a:pt x="102369" y="179703"/>
                </a:lnTo>
                <a:lnTo>
                  <a:pt x="89007" y="185577"/>
                </a:lnTo>
                <a:lnTo>
                  <a:pt x="74741" y="187784"/>
                </a:lnTo>
                <a:lnTo>
                  <a:pt x="162246" y="187784"/>
                </a:lnTo>
                <a:lnTo>
                  <a:pt x="162246" y="4251"/>
                </a:lnTo>
                <a:lnTo>
                  <a:pt x="15798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0661024" y="650217"/>
            <a:ext cx="79323" cy="167503"/>
          </a:xfrm>
          <a:custGeom>
            <a:avLst/>
            <a:gdLst/>
            <a:ahLst/>
            <a:cxnLst/>
            <a:rect l="l" t="t" r="r" b="b"/>
            <a:pathLst>
              <a:path w="130809" h="276225">
                <a:moveTo>
                  <a:pt x="61558" y="85180"/>
                </a:moveTo>
                <a:lnTo>
                  <a:pt x="23224" y="85180"/>
                </a:lnTo>
                <a:lnTo>
                  <a:pt x="23224" y="201721"/>
                </a:lnTo>
                <a:lnTo>
                  <a:pt x="27865" y="234413"/>
                </a:lnTo>
                <a:lnTo>
                  <a:pt x="41763" y="257626"/>
                </a:lnTo>
                <a:lnTo>
                  <a:pt x="64880" y="271473"/>
                </a:lnTo>
                <a:lnTo>
                  <a:pt x="97180" y="276064"/>
                </a:lnTo>
                <a:lnTo>
                  <a:pt x="104153" y="276064"/>
                </a:lnTo>
                <a:lnTo>
                  <a:pt x="112666" y="274902"/>
                </a:lnTo>
                <a:lnTo>
                  <a:pt x="120415" y="273352"/>
                </a:lnTo>
                <a:lnTo>
                  <a:pt x="125839" y="272578"/>
                </a:lnTo>
                <a:lnTo>
                  <a:pt x="130477" y="267154"/>
                </a:lnTo>
                <a:lnTo>
                  <a:pt x="130477" y="245092"/>
                </a:lnTo>
                <a:lnTo>
                  <a:pt x="129412" y="244317"/>
                </a:lnTo>
                <a:lnTo>
                  <a:pt x="101054" y="244317"/>
                </a:lnTo>
                <a:lnTo>
                  <a:pt x="83450" y="241601"/>
                </a:lnTo>
                <a:lnTo>
                  <a:pt x="71144" y="233331"/>
                </a:lnTo>
                <a:lnTo>
                  <a:pt x="63918" y="219327"/>
                </a:lnTo>
                <a:lnTo>
                  <a:pt x="61558" y="199407"/>
                </a:lnTo>
                <a:lnTo>
                  <a:pt x="61558" y="85180"/>
                </a:lnTo>
                <a:close/>
              </a:path>
              <a:path w="130809" h="276225">
                <a:moveTo>
                  <a:pt x="126216" y="241992"/>
                </a:moveTo>
                <a:lnTo>
                  <a:pt x="121190" y="242767"/>
                </a:lnTo>
                <a:lnTo>
                  <a:pt x="114216" y="243929"/>
                </a:lnTo>
                <a:lnTo>
                  <a:pt x="107253" y="244317"/>
                </a:lnTo>
                <a:lnTo>
                  <a:pt x="129412" y="244317"/>
                </a:lnTo>
                <a:lnTo>
                  <a:pt x="126216" y="241992"/>
                </a:lnTo>
                <a:close/>
              </a:path>
              <a:path w="130809" h="276225">
                <a:moveTo>
                  <a:pt x="119640" y="54207"/>
                </a:moveTo>
                <a:lnTo>
                  <a:pt x="4649" y="54207"/>
                </a:lnTo>
                <a:lnTo>
                  <a:pt x="0" y="58458"/>
                </a:lnTo>
                <a:lnTo>
                  <a:pt x="0" y="80919"/>
                </a:lnTo>
                <a:lnTo>
                  <a:pt x="4649" y="85180"/>
                </a:lnTo>
                <a:lnTo>
                  <a:pt x="119640" y="85180"/>
                </a:lnTo>
                <a:lnTo>
                  <a:pt x="124289" y="80919"/>
                </a:lnTo>
                <a:lnTo>
                  <a:pt x="124289" y="58458"/>
                </a:lnTo>
                <a:lnTo>
                  <a:pt x="119640" y="54207"/>
                </a:lnTo>
                <a:close/>
              </a:path>
              <a:path w="130809" h="276225">
                <a:moveTo>
                  <a:pt x="57296" y="0"/>
                </a:moveTo>
                <a:lnTo>
                  <a:pt x="32522" y="0"/>
                </a:lnTo>
                <a:lnTo>
                  <a:pt x="27873" y="4251"/>
                </a:lnTo>
                <a:lnTo>
                  <a:pt x="27486" y="9675"/>
                </a:lnTo>
                <a:lnTo>
                  <a:pt x="23999" y="54207"/>
                </a:lnTo>
                <a:lnTo>
                  <a:pt x="61558" y="54207"/>
                </a:lnTo>
                <a:lnTo>
                  <a:pt x="61558" y="4251"/>
                </a:lnTo>
                <a:lnTo>
                  <a:pt x="5729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0769506" y="680972"/>
            <a:ext cx="58530" cy="133617"/>
          </a:xfrm>
          <a:custGeom>
            <a:avLst/>
            <a:gdLst/>
            <a:ahLst/>
            <a:cxnLst/>
            <a:rect l="l" t="t" r="r" b="b"/>
            <a:pathLst>
              <a:path w="96519" h="220344">
                <a:moveTo>
                  <a:pt x="29035" y="3486"/>
                </a:moveTo>
                <a:lnTo>
                  <a:pt x="4251" y="3486"/>
                </a:lnTo>
                <a:lnTo>
                  <a:pt x="0" y="7737"/>
                </a:lnTo>
                <a:lnTo>
                  <a:pt x="0" y="216056"/>
                </a:lnTo>
                <a:lnTo>
                  <a:pt x="4251" y="220317"/>
                </a:lnTo>
                <a:lnTo>
                  <a:pt x="34072" y="220317"/>
                </a:lnTo>
                <a:lnTo>
                  <a:pt x="38323" y="216056"/>
                </a:lnTo>
                <a:lnTo>
                  <a:pt x="38323" y="63495"/>
                </a:lnTo>
                <a:lnTo>
                  <a:pt x="48079" y="51384"/>
                </a:lnTo>
                <a:lnTo>
                  <a:pt x="60593" y="42104"/>
                </a:lnTo>
                <a:lnTo>
                  <a:pt x="74267" y="36164"/>
                </a:lnTo>
                <a:lnTo>
                  <a:pt x="87505" y="34072"/>
                </a:lnTo>
                <a:lnTo>
                  <a:pt x="92541" y="34072"/>
                </a:lnTo>
                <a:lnTo>
                  <a:pt x="96018" y="30972"/>
                </a:lnTo>
                <a:lnTo>
                  <a:pt x="96018" y="29821"/>
                </a:lnTo>
                <a:lnTo>
                  <a:pt x="36396" y="29821"/>
                </a:lnTo>
                <a:lnTo>
                  <a:pt x="34847" y="13161"/>
                </a:lnTo>
                <a:lnTo>
                  <a:pt x="34072" y="7737"/>
                </a:lnTo>
                <a:lnTo>
                  <a:pt x="29035" y="3486"/>
                </a:lnTo>
                <a:close/>
              </a:path>
              <a:path w="96519" h="220344">
                <a:moveTo>
                  <a:pt x="92541" y="0"/>
                </a:moveTo>
                <a:lnTo>
                  <a:pt x="87117" y="0"/>
                </a:lnTo>
                <a:lnTo>
                  <a:pt x="74673" y="2153"/>
                </a:lnTo>
                <a:lnTo>
                  <a:pt x="60449" y="8227"/>
                </a:lnTo>
                <a:lnTo>
                  <a:pt x="46879" y="17643"/>
                </a:lnTo>
                <a:lnTo>
                  <a:pt x="36396" y="29821"/>
                </a:lnTo>
                <a:lnTo>
                  <a:pt x="96018" y="29821"/>
                </a:lnTo>
                <a:lnTo>
                  <a:pt x="96018" y="3099"/>
                </a:lnTo>
                <a:lnTo>
                  <a:pt x="9254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0853100" y="638470"/>
            <a:ext cx="28495" cy="176360"/>
          </a:xfrm>
          <a:custGeom>
            <a:avLst/>
            <a:gdLst/>
            <a:ahLst/>
            <a:cxnLst/>
            <a:rect l="l" t="t" r="r" b="b"/>
            <a:pathLst>
              <a:path w="46990" h="290830">
                <a:moveTo>
                  <a:pt x="22847" y="0"/>
                </a:moveTo>
                <a:lnTo>
                  <a:pt x="13557" y="1349"/>
                </a:lnTo>
                <a:lnTo>
                  <a:pt x="6338" y="5567"/>
                </a:lnTo>
                <a:lnTo>
                  <a:pt x="1663" y="12907"/>
                </a:lnTo>
                <a:lnTo>
                  <a:pt x="0" y="23622"/>
                </a:lnTo>
                <a:lnTo>
                  <a:pt x="1663" y="33832"/>
                </a:lnTo>
                <a:lnTo>
                  <a:pt x="6338" y="40808"/>
                </a:lnTo>
                <a:lnTo>
                  <a:pt x="13557" y="44806"/>
                </a:lnTo>
                <a:lnTo>
                  <a:pt x="22847" y="46082"/>
                </a:lnTo>
                <a:lnTo>
                  <a:pt x="32640" y="44806"/>
                </a:lnTo>
                <a:lnTo>
                  <a:pt x="40218" y="40808"/>
                </a:lnTo>
                <a:lnTo>
                  <a:pt x="45111" y="33832"/>
                </a:lnTo>
                <a:lnTo>
                  <a:pt x="46846" y="23622"/>
                </a:lnTo>
                <a:lnTo>
                  <a:pt x="45111" y="12907"/>
                </a:lnTo>
                <a:lnTo>
                  <a:pt x="40218" y="5567"/>
                </a:lnTo>
                <a:lnTo>
                  <a:pt x="32640" y="1349"/>
                </a:lnTo>
                <a:lnTo>
                  <a:pt x="22847" y="0"/>
                </a:lnTo>
                <a:close/>
              </a:path>
              <a:path w="46990" h="290830">
                <a:moveTo>
                  <a:pt x="38721" y="73578"/>
                </a:moveTo>
                <a:lnTo>
                  <a:pt x="8900" y="73578"/>
                </a:lnTo>
                <a:lnTo>
                  <a:pt x="4638" y="77830"/>
                </a:lnTo>
                <a:lnTo>
                  <a:pt x="4638" y="286137"/>
                </a:lnTo>
                <a:lnTo>
                  <a:pt x="8900" y="290410"/>
                </a:lnTo>
                <a:lnTo>
                  <a:pt x="38721" y="290410"/>
                </a:lnTo>
                <a:lnTo>
                  <a:pt x="42972" y="286137"/>
                </a:lnTo>
                <a:lnTo>
                  <a:pt x="42972" y="77830"/>
                </a:lnTo>
                <a:lnTo>
                  <a:pt x="38721" y="7357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10918852" y="638473"/>
            <a:ext cx="23489" cy="176360"/>
          </a:xfrm>
          <a:custGeom>
            <a:avLst/>
            <a:gdLst/>
            <a:ahLst/>
            <a:cxnLst/>
            <a:rect l="l" t="t" r="r" b="b"/>
            <a:pathLst>
              <a:path w="38734" h="290830">
                <a:moveTo>
                  <a:pt x="34072" y="0"/>
                </a:moveTo>
                <a:lnTo>
                  <a:pt x="4251" y="0"/>
                </a:lnTo>
                <a:lnTo>
                  <a:pt x="0" y="4261"/>
                </a:lnTo>
                <a:lnTo>
                  <a:pt x="0" y="286137"/>
                </a:lnTo>
                <a:lnTo>
                  <a:pt x="4251" y="290399"/>
                </a:lnTo>
                <a:lnTo>
                  <a:pt x="34072" y="290399"/>
                </a:lnTo>
                <a:lnTo>
                  <a:pt x="38323" y="286137"/>
                </a:lnTo>
                <a:lnTo>
                  <a:pt x="38323" y="4261"/>
                </a:lnTo>
                <a:lnTo>
                  <a:pt x="3407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10977078" y="680736"/>
            <a:ext cx="102427" cy="136313"/>
          </a:xfrm>
          <a:custGeom>
            <a:avLst/>
            <a:gdLst/>
            <a:ahLst/>
            <a:cxnLst/>
            <a:rect l="l" t="t" r="r" b="b"/>
            <a:pathLst>
              <a:path w="168909" h="224790">
                <a:moveTo>
                  <a:pt x="84416" y="0"/>
                </a:moveTo>
                <a:lnTo>
                  <a:pt x="49337" y="5500"/>
                </a:lnTo>
                <a:lnTo>
                  <a:pt x="22751" y="21346"/>
                </a:lnTo>
                <a:lnTo>
                  <a:pt x="5893" y="46555"/>
                </a:lnTo>
                <a:lnTo>
                  <a:pt x="0" y="80144"/>
                </a:lnTo>
                <a:lnTo>
                  <a:pt x="0" y="144424"/>
                </a:lnTo>
                <a:lnTo>
                  <a:pt x="5893" y="178018"/>
                </a:lnTo>
                <a:lnTo>
                  <a:pt x="22751" y="203226"/>
                </a:lnTo>
                <a:lnTo>
                  <a:pt x="49337" y="219070"/>
                </a:lnTo>
                <a:lnTo>
                  <a:pt x="84416" y="224569"/>
                </a:lnTo>
                <a:lnTo>
                  <a:pt x="119658" y="219070"/>
                </a:lnTo>
                <a:lnTo>
                  <a:pt x="146225" y="203226"/>
                </a:lnTo>
                <a:lnTo>
                  <a:pt x="153397" y="192444"/>
                </a:lnTo>
                <a:lnTo>
                  <a:pt x="84416" y="192444"/>
                </a:lnTo>
                <a:lnTo>
                  <a:pt x="64800" y="189060"/>
                </a:lnTo>
                <a:lnTo>
                  <a:pt x="50342" y="179032"/>
                </a:lnTo>
                <a:lnTo>
                  <a:pt x="41404" y="162542"/>
                </a:lnTo>
                <a:lnTo>
                  <a:pt x="38344" y="139775"/>
                </a:lnTo>
                <a:lnTo>
                  <a:pt x="38344" y="84793"/>
                </a:lnTo>
                <a:lnTo>
                  <a:pt x="41404" y="62027"/>
                </a:lnTo>
                <a:lnTo>
                  <a:pt x="50342" y="45541"/>
                </a:lnTo>
                <a:lnTo>
                  <a:pt x="64800" y="35517"/>
                </a:lnTo>
                <a:lnTo>
                  <a:pt x="84416" y="32135"/>
                </a:lnTo>
                <a:lnTo>
                  <a:pt x="153401" y="32135"/>
                </a:lnTo>
                <a:lnTo>
                  <a:pt x="146225" y="21346"/>
                </a:lnTo>
                <a:lnTo>
                  <a:pt x="119658" y="5500"/>
                </a:lnTo>
                <a:lnTo>
                  <a:pt x="84416" y="0"/>
                </a:lnTo>
                <a:close/>
              </a:path>
              <a:path w="168909" h="224790">
                <a:moveTo>
                  <a:pt x="153401" y="32135"/>
                </a:moveTo>
                <a:lnTo>
                  <a:pt x="84416" y="32135"/>
                </a:lnTo>
                <a:lnTo>
                  <a:pt x="104191" y="35517"/>
                </a:lnTo>
                <a:lnTo>
                  <a:pt x="118631" y="45541"/>
                </a:lnTo>
                <a:lnTo>
                  <a:pt x="127481" y="62027"/>
                </a:lnTo>
                <a:lnTo>
                  <a:pt x="130488" y="84793"/>
                </a:lnTo>
                <a:lnTo>
                  <a:pt x="130488" y="139775"/>
                </a:lnTo>
                <a:lnTo>
                  <a:pt x="127481" y="162542"/>
                </a:lnTo>
                <a:lnTo>
                  <a:pt x="118631" y="179032"/>
                </a:lnTo>
                <a:lnTo>
                  <a:pt x="104191" y="189060"/>
                </a:lnTo>
                <a:lnTo>
                  <a:pt x="84416" y="192444"/>
                </a:lnTo>
                <a:lnTo>
                  <a:pt x="153397" y="192444"/>
                </a:lnTo>
                <a:lnTo>
                  <a:pt x="162993" y="178018"/>
                </a:lnTo>
                <a:lnTo>
                  <a:pt x="168832" y="144424"/>
                </a:lnTo>
                <a:lnTo>
                  <a:pt x="168832" y="80144"/>
                </a:lnTo>
                <a:lnTo>
                  <a:pt x="162993" y="46555"/>
                </a:lnTo>
                <a:lnTo>
                  <a:pt x="153401" y="321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1104808" y="665477"/>
            <a:ext cx="100502" cy="186756"/>
          </a:xfrm>
          <a:custGeom>
            <a:avLst/>
            <a:gdLst/>
            <a:ahLst/>
            <a:cxnLst/>
            <a:rect l="l" t="t" r="r" b="b"/>
            <a:pathLst>
              <a:path w="165734" h="307975">
                <a:moveTo>
                  <a:pt x="23213" y="260745"/>
                </a:moveTo>
                <a:lnTo>
                  <a:pt x="17245" y="261552"/>
                </a:lnTo>
                <a:lnTo>
                  <a:pt x="2240" y="281279"/>
                </a:lnTo>
                <a:lnTo>
                  <a:pt x="2816" y="287551"/>
                </a:lnTo>
                <a:lnTo>
                  <a:pt x="6889" y="291142"/>
                </a:lnTo>
                <a:lnTo>
                  <a:pt x="9905" y="293833"/>
                </a:lnTo>
                <a:lnTo>
                  <a:pt x="20173" y="299945"/>
                </a:lnTo>
                <a:lnTo>
                  <a:pt x="32277" y="304314"/>
                </a:lnTo>
                <a:lnTo>
                  <a:pt x="46111" y="306937"/>
                </a:lnTo>
                <a:lnTo>
                  <a:pt x="61568" y="307812"/>
                </a:lnTo>
                <a:lnTo>
                  <a:pt x="93316" y="307812"/>
                </a:lnTo>
                <a:lnTo>
                  <a:pt x="123356" y="304043"/>
                </a:lnTo>
                <a:lnTo>
                  <a:pt x="146025" y="292760"/>
                </a:lnTo>
                <a:lnTo>
                  <a:pt x="157283" y="278012"/>
                </a:lnTo>
                <a:lnTo>
                  <a:pt x="65055" y="278012"/>
                </a:lnTo>
                <a:lnTo>
                  <a:pt x="54085" y="277274"/>
                </a:lnTo>
                <a:lnTo>
                  <a:pt x="45129" y="274879"/>
                </a:lnTo>
                <a:lnTo>
                  <a:pt x="36754" y="270555"/>
                </a:lnTo>
                <a:lnTo>
                  <a:pt x="27527" y="264033"/>
                </a:lnTo>
                <a:lnTo>
                  <a:pt x="23213" y="260745"/>
                </a:lnTo>
                <a:close/>
              </a:path>
              <a:path w="165734" h="307975">
                <a:moveTo>
                  <a:pt x="73568" y="25161"/>
                </a:moveTo>
                <a:lnTo>
                  <a:pt x="43122" y="29905"/>
                </a:lnTo>
                <a:lnTo>
                  <a:pt x="19939" y="42781"/>
                </a:lnTo>
                <a:lnTo>
                  <a:pt x="5178" y="61755"/>
                </a:lnTo>
                <a:lnTo>
                  <a:pt x="0" y="84793"/>
                </a:lnTo>
                <a:lnTo>
                  <a:pt x="0" y="109577"/>
                </a:lnTo>
                <a:lnTo>
                  <a:pt x="1543" y="121271"/>
                </a:lnTo>
                <a:lnTo>
                  <a:pt x="5955" y="132566"/>
                </a:lnTo>
                <a:lnTo>
                  <a:pt x="12907" y="142628"/>
                </a:lnTo>
                <a:lnTo>
                  <a:pt x="22072" y="150623"/>
                </a:lnTo>
                <a:lnTo>
                  <a:pt x="18228" y="156864"/>
                </a:lnTo>
                <a:lnTo>
                  <a:pt x="15438" y="163398"/>
                </a:lnTo>
                <a:lnTo>
                  <a:pt x="13736" y="170222"/>
                </a:lnTo>
                <a:lnTo>
                  <a:pt x="13161" y="177334"/>
                </a:lnTo>
                <a:lnTo>
                  <a:pt x="13161" y="185083"/>
                </a:lnTo>
                <a:lnTo>
                  <a:pt x="38562" y="216429"/>
                </a:lnTo>
                <a:lnTo>
                  <a:pt x="65055" y="220317"/>
                </a:lnTo>
                <a:lnTo>
                  <a:pt x="89442" y="220317"/>
                </a:lnTo>
                <a:lnTo>
                  <a:pt x="106093" y="221908"/>
                </a:lnTo>
                <a:lnTo>
                  <a:pt x="117806" y="226945"/>
                </a:lnTo>
                <a:lnTo>
                  <a:pt x="124727" y="235831"/>
                </a:lnTo>
                <a:lnTo>
                  <a:pt x="127001" y="248966"/>
                </a:lnTo>
                <a:lnTo>
                  <a:pt x="124727" y="262162"/>
                </a:lnTo>
                <a:lnTo>
                  <a:pt x="117806" y="271185"/>
                </a:lnTo>
                <a:lnTo>
                  <a:pt x="106093" y="276360"/>
                </a:lnTo>
                <a:lnTo>
                  <a:pt x="89442" y="278012"/>
                </a:lnTo>
                <a:lnTo>
                  <a:pt x="157283" y="278012"/>
                </a:lnTo>
                <a:lnTo>
                  <a:pt x="160344" y="274001"/>
                </a:lnTo>
                <a:lnTo>
                  <a:pt x="165335" y="247803"/>
                </a:lnTo>
                <a:lnTo>
                  <a:pt x="160556" y="223452"/>
                </a:lnTo>
                <a:lnTo>
                  <a:pt x="146848" y="205743"/>
                </a:lnTo>
                <a:lnTo>
                  <a:pt x="125154" y="194932"/>
                </a:lnTo>
                <a:lnTo>
                  <a:pt x="102581" y="192056"/>
                </a:lnTo>
                <a:lnTo>
                  <a:pt x="53432" y="192056"/>
                </a:lnTo>
                <a:lnTo>
                  <a:pt x="50333" y="188172"/>
                </a:lnTo>
                <a:lnTo>
                  <a:pt x="48019" y="183146"/>
                </a:lnTo>
                <a:lnTo>
                  <a:pt x="48019" y="171534"/>
                </a:lnTo>
                <a:lnTo>
                  <a:pt x="50333" y="166874"/>
                </a:lnTo>
                <a:lnTo>
                  <a:pt x="53820" y="163775"/>
                </a:lnTo>
                <a:lnTo>
                  <a:pt x="90342" y="163775"/>
                </a:lnTo>
                <a:lnTo>
                  <a:pt x="105377" y="161469"/>
                </a:lnTo>
                <a:lnTo>
                  <a:pt x="128162" y="149022"/>
                </a:lnTo>
                <a:lnTo>
                  <a:pt x="137986" y="136686"/>
                </a:lnTo>
                <a:lnTo>
                  <a:pt x="73568" y="136686"/>
                </a:lnTo>
                <a:lnTo>
                  <a:pt x="58630" y="134392"/>
                </a:lnTo>
                <a:lnTo>
                  <a:pt x="47286" y="127922"/>
                </a:lnTo>
                <a:lnTo>
                  <a:pt x="40081" y="117895"/>
                </a:lnTo>
                <a:lnTo>
                  <a:pt x="37559" y="104928"/>
                </a:lnTo>
                <a:lnTo>
                  <a:pt x="37559" y="87117"/>
                </a:lnTo>
                <a:lnTo>
                  <a:pt x="40081" y="74213"/>
                </a:lnTo>
                <a:lnTo>
                  <a:pt x="47286" y="64322"/>
                </a:lnTo>
                <a:lnTo>
                  <a:pt x="58630" y="57989"/>
                </a:lnTo>
                <a:lnTo>
                  <a:pt x="73568" y="55757"/>
                </a:lnTo>
                <a:lnTo>
                  <a:pt x="143740" y="55757"/>
                </a:lnTo>
                <a:lnTo>
                  <a:pt x="150349" y="50274"/>
                </a:lnTo>
                <a:lnTo>
                  <a:pt x="157834" y="40654"/>
                </a:lnTo>
                <a:lnTo>
                  <a:pt x="159644" y="36386"/>
                </a:lnTo>
                <a:lnTo>
                  <a:pt x="118090" y="36386"/>
                </a:lnTo>
                <a:lnTo>
                  <a:pt x="109012" y="31858"/>
                </a:lnTo>
                <a:lnTo>
                  <a:pt x="98299" y="28308"/>
                </a:lnTo>
                <a:lnTo>
                  <a:pt x="86351" y="25990"/>
                </a:lnTo>
                <a:lnTo>
                  <a:pt x="73568" y="25161"/>
                </a:lnTo>
                <a:close/>
              </a:path>
              <a:path w="165734" h="307975">
                <a:moveTo>
                  <a:pt x="96415" y="191271"/>
                </a:moveTo>
                <a:lnTo>
                  <a:pt x="61956" y="191271"/>
                </a:lnTo>
                <a:lnTo>
                  <a:pt x="57307" y="191659"/>
                </a:lnTo>
                <a:lnTo>
                  <a:pt x="53432" y="192056"/>
                </a:lnTo>
                <a:lnTo>
                  <a:pt x="102581" y="192056"/>
                </a:lnTo>
                <a:lnTo>
                  <a:pt x="96415" y="191271"/>
                </a:lnTo>
                <a:close/>
              </a:path>
              <a:path w="165734" h="307975">
                <a:moveTo>
                  <a:pt x="90342" y="163775"/>
                </a:moveTo>
                <a:lnTo>
                  <a:pt x="53820" y="163775"/>
                </a:lnTo>
                <a:lnTo>
                  <a:pt x="60019" y="165335"/>
                </a:lnTo>
                <a:lnTo>
                  <a:pt x="67757" y="166110"/>
                </a:lnTo>
                <a:lnTo>
                  <a:pt x="75118" y="166110"/>
                </a:lnTo>
                <a:lnTo>
                  <a:pt x="90342" y="163775"/>
                </a:lnTo>
                <a:close/>
              </a:path>
              <a:path w="165734" h="307975">
                <a:moveTo>
                  <a:pt x="143740" y="55757"/>
                </a:moveTo>
                <a:lnTo>
                  <a:pt x="73568" y="55757"/>
                </a:lnTo>
                <a:lnTo>
                  <a:pt x="88730" y="57989"/>
                </a:lnTo>
                <a:lnTo>
                  <a:pt x="100189" y="64322"/>
                </a:lnTo>
                <a:lnTo>
                  <a:pt x="107436" y="74213"/>
                </a:lnTo>
                <a:lnTo>
                  <a:pt x="109965" y="87117"/>
                </a:lnTo>
                <a:lnTo>
                  <a:pt x="109965" y="104928"/>
                </a:lnTo>
                <a:lnTo>
                  <a:pt x="107436" y="117895"/>
                </a:lnTo>
                <a:lnTo>
                  <a:pt x="100189" y="127922"/>
                </a:lnTo>
                <a:lnTo>
                  <a:pt x="88730" y="134392"/>
                </a:lnTo>
                <a:lnTo>
                  <a:pt x="73568" y="136686"/>
                </a:lnTo>
                <a:lnTo>
                  <a:pt x="137986" y="136686"/>
                </a:lnTo>
                <a:lnTo>
                  <a:pt x="142526" y="130987"/>
                </a:lnTo>
                <a:lnTo>
                  <a:pt x="147524" y="109577"/>
                </a:lnTo>
                <a:lnTo>
                  <a:pt x="147524" y="84793"/>
                </a:lnTo>
                <a:lnTo>
                  <a:pt x="147094" y="78116"/>
                </a:lnTo>
                <a:lnTo>
                  <a:pt x="145829" y="71147"/>
                </a:lnTo>
                <a:lnTo>
                  <a:pt x="143764" y="64322"/>
                </a:lnTo>
                <a:lnTo>
                  <a:pt x="140938" y="58082"/>
                </a:lnTo>
                <a:lnTo>
                  <a:pt x="143740" y="55757"/>
                </a:lnTo>
                <a:close/>
              </a:path>
              <a:path w="165734" h="307975">
                <a:moveTo>
                  <a:pt x="160298" y="0"/>
                </a:moveTo>
                <a:lnTo>
                  <a:pt x="132812" y="0"/>
                </a:lnTo>
                <a:lnTo>
                  <a:pt x="129713" y="2711"/>
                </a:lnTo>
                <a:lnTo>
                  <a:pt x="129713" y="10062"/>
                </a:lnTo>
                <a:lnTo>
                  <a:pt x="128986" y="18422"/>
                </a:lnTo>
                <a:lnTo>
                  <a:pt x="126807" y="25548"/>
                </a:lnTo>
                <a:lnTo>
                  <a:pt x="123175" y="31513"/>
                </a:lnTo>
                <a:lnTo>
                  <a:pt x="118090" y="36386"/>
                </a:lnTo>
                <a:lnTo>
                  <a:pt x="159644" y="36386"/>
                </a:lnTo>
                <a:lnTo>
                  <a:pt x="162776" y="29002"/>
                </a:lnTo>
                <a:lnTo>
                  <a:pt x="164560" y="15099"/>
                </a:lnTo>
                <a:lnTo>
                  <a:pt x="164560" y="13161"/>
                </a:lnTo>
                <a:lnTo>
                  <a:pt x="164173" y="8900"/>
                </a:lnTo>
                <a:lnTo>
                  <a:pt x="163785" y="7737"/>
                </a:lnTo>
                <a:lnTo>
                  <a:pt x="163398" y="3099"/>
                </a:lnTo>
                <a:lnTo>
                  <a:pt x="1602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1228549" y="638470"/>
            <a:ext cx="28495" cy="176360"/>
          </a:xfrm>
          <a:custGeom>
            <a:avLst/>
            <a:gdLst/>
            <a:ahLst/>
            <a:cxnLst/>
            <a:rect l="l" t="t" r="r" b="b"/>
            <a:pathLst>
              <a:path w="46990" h="290830">
                <a:moveTo>
                  <a:pt x="22847" y="0"/>
                </a:moveTo>
                <a:lnTo>
                  <a:pt x="13561" y="1349"/>
                </a:lnTo>
                <a:lnTo>
                  <a:pt x="6342" y="5567"/>
                </a:lnTo>
                <a:lnTo>
                  <a:pt x="1664" y="12907"/>
                </a:lnTo>
                <a:lnTo>
                  <a:pt x="0" y="23622"/>
                </a:lnTo>
                <a:lnTo>
                  <a:pt x="1664" y="33832"/>
                </a:lnTo>
                <a:lnTo>
                  <a:pt x="6342" y="40808"/>
                </a:lnTo>
                <a:lnTo>
                  <a:pt x="13561" y="44806"/>
                </a:lnTo>
                <a:lnTo>
                  <a:pt x="22847" y="46082"/>
                </a:lnTo>
                <a:lnTo>
                  <a:pt x="32642" y="44806"/>
                </a:lnTo>
                <a:lnTo>
                  <a:pt x="40223" y="40808"/>
                </a:lnTo>
                <a:lnTo>
                  <a:pt x="45120" y="33832"/>
                </a:lnTo>
                <a:lnTo>
                  <a:pt x="46857" y="23622"/>
                </a:lnTo>
                <a:lnTo>
                  <a:pt x="45120" y="12907"/>
                </a:lnTo>
                <a:lnTo>
                  <a:pt x="40223" y="5567"/>
                </a:lnTo>
                <a:lnTo>
                  <a:pt x="32642" y="1349"/>
                </a:lnTo>
                <a:lnTo>
                  <a:pt x="22847" y="0"/>
                </a:lnTo>
                <a:close/>
              </a:path>
              <a:path w="46990" h="290830">
                <a:moveTo>
                  <a:pt x="38721" y="73578"/>
                </a:moveTo>
                <a:lnTo>
                  <a:pt x="8910" y="73578"/>
                </a:lnTo>
                <a:lnTo>
                  <a:pt x="4649" y="77830"/>
                </a:lnTo>
                <a:lnTo>
                  <a:pt x="4649" y="286137"/>
                </a:lnTo>
                <a:lnTo>
                  <a:pt x="8910" y="290410"/>
                </a:lnTo>
                <a:lnTo>
                  <a:pt x="38721" y="290410"/>
                </a:lnTo>
                <a:lnTo>
                  <a:pt x="42982" y="286137"/>
                </a:lnTo>
                <a:lnTo>
                  <a:pt x="42982" y="77830"/>
                </a:lnTo>
                <a:lnTo>
                  <a:pt x="38721" y="7357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1291485" y="680736"/>
            <a:ext cx="102042" cy="136313"/>
          </a:xfrm>
          <a:custGeom>
            <a:avLst/>
            <a:gdLst/>
            <a:ahLst/>
            <a:cxnLst/>
            <a:rect l="l" t="t" r="r" b="b"/>
            <a:pathLst>
              <a:path w="168275" h="224790">
                <a:moveTo>
                  <a:pt x="84405" y="0"/>
                </a:moveTo>
                <a:lnTo>
                  <a:pt x="49329" y="5500"/>
                </a:lnTo>
                <a:lnTo>
                  <a:pt x="22746" y="21346"/>
                </a:lnTo>
                <a:lnTo>
                  <a:pt x="5892" y="46555"/>
                </a:lnTo>
                <a:lnTo>
                  <a:pt x="0" y="80144"/>
                </a:lnTo>
                <a:lnTo>
                  <a:pt x="0" y="144424"/>
                </a:lnTo>
                <a:lnTo>
                  <a:pt x="5892" y="178018"/>
                </a:lnTo>
                <a:lnTo>
                  <a:pt x="22746" y="203226"/>
                </a:lnTo>
                <a:lnTo>
                  <a:pt x="49329" y="219070"/>
                </a:lnTo>
                <a:lnTo>
                  <a:pt x="84405" y="224569"/>
                </a:lnTo>
                <a:lnTo>
                  <a:pt x="120036" y="219070"/>
                </a:lnTo>
                <a:lnTo>
                  <a:pt x="146258" y="204194"/>
                </a:lnTo>
                <a:lnTo>
                  <a:pt x="155237" y="192056"/>
                </a:lnTo>
                <a:lnTo>
                  <a:pt x="84405" y="192056"/>
                </a:lnTo>
                <a:lnTo>
                  <a:pt x="64792" y="188733"/>
                </a:lnTo>
                <a:lnTo>
                  <a:pt x="50330" y="178838"/>
                </a:lnTo>
                <a:lnTo>
                  <a:pt x="41386" y="162482"/>
                </a:lnTo>
                <a:lnTo>
                  <a:pt x="38323" y="139775"/>
                </a:lnTo>
                <a:lnTo>
                  <a:pt x="38323" y="84793"/>
                </a:lnTo>
                <a:lnTo>
                  <a:pt x="41386" y="62088"/>
                </a:lnTo>
                <a:lnTo>
                  <a:pt x="50330" y="45735"/>
                </a:lnTo>
                <a:lnTo>
                  <a:pt x="64792" y="35843"/>
                </a:lnTo>
                <a:lnTo>
                  <a:pt x="84405" y="32522"/>
                </a:lnTo>
                <a:lnTo>
                  <a:pt x="155822" y="32522"/>
                </a:lnTo>
                <a:lnTo>
                  <a:pt x="146258" y="19648"/>
                </a:lnTo>
                <a:lnTo>
                  <a:pt x="120015" y="5214"/>
                </a:lnTo>
                <a:lnTo>
                  <a:pt x="84405" y="0"/>
                </a:lnTo>
                <a:close/>
              </a:path>
              <a:path w="168275" h="224790">
                <a:moveTo>
                  <a:pt x="163775" y="146362"/>
                </a:moveTo>
                <a:lnTo>
                  <a:pt x="133189" y="146362"/>
                </a:lnTo>
                <a:lnTo>
                  <a:pt x="129702" y="149838"/>
                </a:lnTo>
                <a:lnTo>
                  <a:pt x="129702" y="155649"/>
                </a:lnTo>
                <a:lnTo>
                  <a:pt x="127035" y="169673"/>
                </a:lnTo>
                <a:lnTo>
                  <a:pt x="118814" y="181262"/>
                </a:lnTo>
                <a:lnTo>
                  <a:pt x="104713" y="189146"/>
                </a:lnTo>
                <a:lnTo>
                  <a:pt x="84405" y="192056"/>
                </a:lnTo>
                <a:lnTo>
                  <a:pt x="155237" y="192056"/>
                </a:lnTo>
                <a:lnTo>
                  <a:pt x="162483" y="182263"/>
                </a:lnTo>
                <a:lnTo>
                  <a:pt x="168036" y="155649"/>
                </a:lnTo>
                <a:lnTo>
                  <a:pt x="168036" y="150225"/>
                </a:lnTo>
                <a:lnTo>
                  <a:pt x="163775" y="146362"/>
                </a:lnTo>
                <a:close/>
              </a:path>
              <a:path w="168275" h="224790">
                <a:moveTo>
                  <a:pt x="155822" y="32522"/>
                </a:moveTo>
                <a:lnTo>
                  <a:pt x="84405" y="32522"/>
                </a:lnTo>
                <a:lnTo>
                  <a:pt x="104223" y="35331"/>
                </a:lnTo>
                <a:lnTo>
                  <a:pt x="118378" y="43077"/>
                </a:lnTo>
                <a:lnTo>
                  <a:pt x="126871" y="54742"/>
                </a:lnTo>
                <a:lnTo>
                  <a:pt x="129627" y="68919"/>
                </a:lnTo>
                <a:lnTo>
                  <a:pt x="129702" y="74720"/>
                </a:lnTo>
                <a:lnTo>
                  <a:pt x="133189" y="78604"/>
                </a:lnTo>
                <a:lnTo>
                  <a:pt x="164162" y="78604"/>
                </a:lnTo>
                <a:lnTo>
                  <a:pt x="168036" y="74720"/>
                </a:lnTo>
                <a:lnTo>
                  <a:pt x="168036" y="68919"/>
                </a:lnTo>
                <a:lnTo>
                  <a:pt x="162483" y="41488"/>
                </a:lnTo>
                <a:lnTo>
                  <a:pt x="155822" y="325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9803124" y="511520"/>
            <a:ext cx="432785" cy="42973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43472" y="2181738"/>
            <a:ext cx="10133606" cy="2946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 defTabSz="554492" fontAlgn="auto">
              <a:lnSpc>
                <a:spcPct val="107200"/>
              </a:lnSpc>
              <a:spcBef>
                <a:spcPts val="0"/>
              </a:spcBef>
              <a:spcAft>
                <a:spcPts val="0"/>
              </a:spcAft>
            </a:pPr>
            <a:r>
              <a:rPr sz="1789" spc="3" dirty="0">
                <a:solidFill>
                  <a:srgbClr val="4E4E4E"/>
                </a:solidFill>
                <a:latin typeface="Roboto Light"/>
                <a:cs typeface="Roboto Light"/>
              </a:rPr>
              <a:t>Параметры, </a:t>
            </a:r>
            <a:r>
              <a:rPr sz="1789" spc="6" dirty="0">
                <a:solidFill>
                  <a:srgbClr val="4E4E4E"/>
                </a:solidFill>
                <a:latin typeface="Roboto Light"/>
                <a:cs typeface="Roboto Light"/>
              </a:rPr>
              <a:t>учитываемые</a:t>
            </a:r>
            <a:r>
              <a:rPr sz="1789" spc="-39" dirty="0">
                <a:solidFill>
                  <a:srgbClr val="4E4E4E"/>
                </a:solidFill>
                <a:latin typeface="Roboto Light"/>
                <a:cs typeface="Roboto Light"/>
              </a:rPr>
              <a:t> </a:t>
            </a:r>
            <a:r>
              <a:rPr sz="1789" spc="-3" dirty="0">
                <a:solidFill>
                  <a:srgbClr val="4E4E4E"/>
                </a:solidFill>
                <a:latin typeface="Roboto Light"/>
                <a:cs typeface="Roboto Light"/>
              </a:rPr>
              <a:t>системой  </a:t>
            </a:r>
            <a:r>
              <a:rPr sz="1789" spc="6" dirty="0">
                <a:solidFill>
                  <a:srgbClr val="4E4E4E"/>
                </a:solidFill>
                <a:latin typeface="Roboto Light"/>
                <a:cs typeface="Roboto Light"/>
              </a:rPr>
              <a:t>при </a:t>
            </a:r>
            <a:r>
              <a:rPr sz="1789" spc="6" dirty="0" err="1">
                <a:solidFill>
                  <a:srgbClr val="4E4E4E"/>
                </a:solidFill>
                <a:latin typeface="Roboto Light"/>
                <a:cs typeface="Roboto Light"/>
              </a:rPr>
              <a:t>формировании</a:t>
            </a:r>
            <a:r>
              <a:rPr sz="1789" spc="-64" dirty="0">
                <a:solidFill>
                  <a:srgbClr val="4E4E4E"/>
                </a:solidFill>
                <a:latin typeface="Roboto Light"/>
                <a:cs typeface="Roboto Light"/>
              </a:rPr>
              <a:t> </a:t>
            </a:r>
            <a:r>
              <a:rPr lang="ru-RU" sz="1789" spc="6" dirty="0" smtClean="0">
                <a:solidFill>
                  <a:srgbClr val="4E4E4E"/>
                </a:solidFill>
                <a:latin typeface="Roboto Light"/>
                <a:cs typeface="Roboto Light"/>
              </a:rPr>
              <a:t>оптимальной формулы питания</a:t>
            </a:r>
            <a:endParaRPr sz="1789" dirty="0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149358" y="4997806"/>
            <a:ext cx="1856364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algn="ctr" defTabSz="554492" fontAlgn="auto">
              <a:spcBef>
                <a:spcPts val="0"/>
              </a:spcBef>
              <a:spcAft>
                <a:spcPts val="0"/>
              </a:spcAft>
            </a:pPr>
            <a:r>
              <a:rPr spc="-3" dirty="0">
                <a:solidFill>
                  <a:srgbClr val="4E4E4E"/>
                </a:solidFill>
                <a:latin typeface="Roboto Light"/>
                <a:cs typeface="Roboto Light"/>
              </a:rPr>
              <a:t>Энергетический</a:t>
            </a:r>
            <a:r>
              <a:rPr spc="-42" dirty="0">
                <a:solidFill>
                  <a:srgbClr val="4E4E4E"/>
                </a:solidFill>
                <a:latin typeface="Roboto Light"/>
                <a:cs typeface="Roboto Light"/>
              </a:rPr>
              <a:t> </a:t>
            </a:r>
            <a:r>
              <a:rPr spc="-3" dirty="0">
                <a:solidFill>
                  <a:srgbClr val="4E4E4E"/>
                </a:solidFill>
                <a:latin typeface="Roboto Light"/>
                <a:cs typeface="Roboto Light"/>
              </a:rPr>
              <a:t>обмен</a:t>
            </a:r>
            <a:endParaRPr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996478" y="4997806"/>
            <a:ext cx="188656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algn="ctr" defTabSz="554492" fontAlgn="auto">
              <a:spcBef>
                <a:spcPts val="0"/>
              </a:spcBef>
              <a:spcAft>
                <a:spcPts val="0"/>
              </a:spcAft>
            </a:pPr>
            <a:r>
              <a:rPr lang="ru-RU" spc="-3" dirty="0" smtClean="0">
                <a:solidFill>
                  <a:srgbClr val="4E4E4E"/>
                </a:solidFill>
                <a:latin typeface="Roboto Light"/>
                <a:cs typeface="Roboto Light"/>
              </a:rPr>
              <a:t>Пищевая аллергия</a:t>
            </a:r>
            <a:endParaRPr dirty="0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302238" y="4997806"/>
            <a:ext cx="409128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algn="ctr" defTabSz="554492" fontAlgn="auto">
              <a:spcBef>
                <a:spcPts val="0"/>
              </a:spcBef>
              <a:spcAft>
                <a:spcPts val="0"/>
              </a:spcAft>
            </a:pPr>
            <a:r>
              <a:rPr spc="-3" dirty="0">
                <a:solidFill>
                  <a:srgbClr val="4E4E4E"/>
                </a:solidFill>
                <a:latin typeface="Roboto Light"/>
                <a:cs typeface="Roboto Light"/>
              </a:rPr>
              <a:t>Оценка фактического</a:t>
            </a:r>
            <a:r>
              <a:rPr spc="-30" dirty="0">
                <a:solidFill>
                  <a:srgbClr val="4E4E4E"/>
                </a:solidFill>
                <a:latin typeface="Roboto Light"/>
                <a:cs typeface="Roboto Light"/>
              </a:rPr>
              <a:t> </a:t>
            </a:r>
            <a:r>
              <a:rPr spc="-3" dirty="0">
                <a:solidFill>
                  <a:srgbClr val="4E4E4E"/>
                </a:solidFill>
                <a:latin typeface="Roboto Light"/>
                <a:cs typeface="Roboto Light"/>
              </a:rPr>
              <a:t>питания</a:t>
            </a:r>
            <a:endParaRPr dirty="0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43472" y="4978899"/>
            <a:ext cx="1830243" cy="2852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 algn="ctr" defTabSz="554492" fontAlgn="auto">
              <a:lnSpc>
                <a:spcPct val="112400"/>
              </a:lnSpc>
              <a:spcBef>
                <a:spcPts val="0"/>
              </a:spcBef>
              <a:spcAft>
                <a:spcPts val="0"/>
              </a:spcAft>
            </a:pPr>
            <a:r>
              <a:rPr spc="-3" dirty="0" err="1" smtClean="0">
                <a:solidFill>
                  <a:srgbClr val="4E4E4E"/>
                </a:solidFill>
                <a:latin typeface="Roboto Light"/>
                <a:cs typeface="Roboto Light"/>
              </a:rPr>
              <a:t>Антропометрия</a:t>
            </a:r>
            <a:endParaRPr dirty="0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23" name="object 2"/>
          <p:cNvSpPr txBox="1">
            <a:spLocks/>
          </p:cNvSpPr>
          <p:nvPr/>
        </p:nvSpPr>
        <p:spPr>
          <a:xfrm>
            <a:off x="637672" y="431385"/>
            <a:ext cx="8406274" cy="4479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911" kern="0" spc="6" dirty="0">
                <a:solidFill>
                  <a:prstClr val="white"/>
                </a:solidFill>
                <a:latin typeface="Open Sans Light"/>
                <a:cs typeface="Open Sans Light"/>
              </a:rPr>
              <a:t>Индивидуальный подход: диагностика</a:t>
            </a:r>
            <a:endParaRPr lang="ru-RU" sz="2911" kern="0" dirty="0">
              <a:solidFill>
                <a:prstClr val="white"/>
              </a:solidFill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085398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637672" y="425190"/>
            <a:ext cx="8406274" cy="4479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/>
            <a:r>
              <a:rPr sz="2911" spc="6"/>
              <a:t>Формирование </a:t>
            </a:r>
            <a:r>
              <a:rPr lang="ru-RU" sz="2911" spc="-6" dirty="0"/>
              <a:t>индивидуального</a:t>
            </a:r>
            <a:r>
              <a:rPr sz="2911" spc="-18"/>
              <a:t> </a:t>
            </a:r>
            <a:r>
              <a:rPr sz="2911" spc="-3" dirty="0"/>
              <a:t>рациона</a:t>
            </a:r>
            <a:endParaRPr sz="2911"/>
          </a:p>
        </p:txBody>
      </p:sp>
      <p:sp>
        <p:nvSpPr>
          <p:cNvPr id="3" name="object 3"/>
          <p:cNvSpPr/>
          <p:nvPr/>
        </p:nvSpPr>
        <p:spPr>
          <a:xfrm>
            <a:off x="10381129" y="650214"/>
            <a:ext cx="119370" cy="164423"/>
          </a:xfrm>
          <a:custGeom>
            <a:avLst/>
            <a:gdLst/>
            <a:ahLst/>
            <a:cxnLst/>
            <a:rect l="l" t="t" r="r" b="b"/>
            <a:pathLst>
              <a:path w="196850" h="271144">
                <a:moveTo>
                  <a:pt x="41810" y="0"/>
                </a:moveTo>
                <a:lnTo>
                  <a:pt x="4251" y="0"/>
                </a:lnTo>
                <a:lnTo>
                  <a:pt x="0" y="4251"/>
                </a:lnTo>
                <a:lnTo>
                  <a:pt x="0" y="266777"/>
                </a:lnTo>
                <a:lnTo>
                  <a:pt x="4251" y="271038"/>
                </a:lnTo>
                <a:lnTo>
                  <a:pt x="35632" y="271038"/>
                </a:lnTo>
                <a:lnTo>
                  <a:pt x="40271" y="266777"/>
                </a:lnTo>
                <a:lnTo>
                  <a:pt x="39883" y="261353"/>
                </a:lnTo>
                <a:lnTo>
                  <a:pt x="39108" y="67369"/>
                </a:lnTo>
                <a:lnTo>
                  <a:pt x="82623" y="67369"/>
                </a:lnTo>
                <a:lnTo>
                  <a:pt x="50344" y="8512"/>
                </a:lnTo>
                <a:lnTo>
                  <a:pt x="47632" y="3486"/>
                </a:lnTo>
                <a:lnTo>
                  <a:pt x="41810" y="0"/>
                </a:lnTo>
                <a:close/>
              </a:path>
              <a:path w="196850" h="271144">
                <a:moveTo>
                  <a:pt x="82623" y="67369"/>
                </a:moveTo>
                <a:lnTo>
                  <a:pt x="39108" y="67369"/>
                </a:lnTo>
                <a:lnTo>
                  <a:pt x="145597" y="262526"/>
                </a:lnTo>
                <a:lnTo>
                  <a:pt x="148299" y="267552"/>
                </a:lnTo>
                <a:lnTo>
                  <a:pt x="154110" y="271038"/>
                </a:lnTo>
                <a:lnTo>
                  <a:pt x="192444" y="271038"/>
                </a:lnTo>
                <a:lnTo>
                  <a:pt x="196695" y="266777"/>
                </a:lnTo>
                <a:lnTo>
                  <a:pt x="196695" y="204056"/>
                </a:lnTo>
                <a:lnTo>
                  <a:pt x="157586" y="204056"/>
                </a:lnTo>
                <a:lnTo>
                  <a:pt x="82623" y="67369"/>
                </a:lnTo>
                <a:close/>
              </a:path>
              <a:path w="196850" h="271144">
                <a:moveTo>
                  <a:pt x="192444" y="0"/>
                </a:moveTo>
                <a:lnTo>
                  <a:pt x="161073" y="0"/>
                </a:lnTo>
                <a:lnTo>
                  <a:pt x="156822" y="4251"/>
                </a:lnTo>
                <a:lnTo>
                  <a:pt x="156822" y="9675"/>
                </a:lnTo>
                <a:lnTo>
                  <a:pt x="157586" y="204056"/>
                </a:lnTo>
                <a:lnTo>
                  <a:pt x="196695" y="204056"/>
                </a:lnTo>
                <a:lnTo>
                  <a:pt x="196695" y="4251"/>
                </a:lnTo>
                <a:lnTo>
                  <a:pt x="19244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0538446" y="683083"/>
            <a:ext cx="98577" cy="134002"/>
          </a:xfrm>
          <a:custGeom>
            <a:avLst/>
            <a:gdLst/>
            <a:ahLst/>
            <a:cxnLst/>
            <a:rect l="l" t="t" r="r" b="b"/>
            <a:pathLst>
              <a:path w="162559" h="220980">
                <a:moveTo>
                  <a:pt x="34082" y="0"/>
                </a:moveTo>
                <a:lnTo>
                  <a:pt x="4272" y="0"/>
                </a:lnTo>
                <a:lnTo>
                  <a:pt x="0" y="4261"/>
                </a:lnTo>
                <a:lnTo>
                  <a:pt x="0" y="147524"/>
                </a:lnTo>
                <a:lnTo>
                  <a:pt x="3448" y="179212"/>
                </a:lnTo>
                <a:lnTo>
                  <a:pt x="14811" y="202118"/>
                </a:lnTo>
                <a:lnTo>
                  <a:pt x="35613" y="216022"/>
                </a:lnTo>
                <a:lnTo>
                  <a:pt x="67380" y="220705"/>
                </a:lnTo>
                <a:lnTo>
                  <a:pt x="83700" y="218828"/>
                </a:lnTo>
                <a:lnTo>
                  <a:pt x="99226" y="213539"/>
                </a:lnTo>
                <a:lnTo>
                  <a:pt x="113446" y="205346"/>
                </a:lnTo>
                <a:lnTo>
                  <a:pt x="125849" y="194758"/>
                </a:lnTo>
                <a:lnTo>
                  <a:pt x="162246" y="194758"/>
                </a:lnTo>
                <a:lnTo>
                  <a:pt x="162246" y="187795"/>
                </a:lnTo>
                <a:lnTo>
                  <a:pt x="74730" y="187795"/>
                </a:lnTo>
                <a:lnTo>
                  <a:pt x="56636" y="185126"/>
                </a:lnTo>
                <a:lnTo>
                  <a:pt x="45507" y="176901"/>
                </a:lnTo>
                <a:lnTo>
                  <a:pt x="39893" y="162797"/>
                </a:lnTo>
                <a:lnTo>
                  <a:pt x="38344" y="142487"/>
                </a:lnTo>
                <a:lnTo>
                  <a:pt x="38344" y="4261"/>
                </a:lnTo>
                <a:lnTo>
                  <a:pt x="34082" y="0"/>
                </a:lnTo>
                <a:close/>
              </a:path>
              <a:path w="162559" h="220980">
                <a:moveTo>
                  <a:pt x="162246" y="194758"/>
                </a:moveTo>
                <a:lnTo>
                  <a:pt x="125849" y="194758"/>
                </a:lnTo>
                <a:lnTo>
                  <a:pt x="127001" y="207155"/>
                </a:lnTo>
                <a:lnTo>
                  <a:pt x="127388" y="212579"/>
                </a:lnTo>
                <a:lnTo>
                  <a:pt x="132435" y="216831"/>
                </a:lnTo>
                <a:lnTo>
                  <a:pt x="157974" y="216831"/>
                </a:lnTo>
                <a:lnTo>
                  <a:pt x="162246" y="212579"/>
                </a:lnTo>
                <a:lnTo>
                  <a:pt x="162246" y="194758"/>
                </a:lnTo>
                <a:close/>
              </a:path>
              <a:path w="162559" h="220980">
                <a:moveTo>
                  <a:pt x="157974" y="0"/>
                </a:moveTo>
                <a:lnTo>
                  <a:pt x="128174" y="0"/>
                </a:lnTo>
                <a:lnTo>
                  <a:pt x="123901" y="4261"/>
                </a:lnTo>
                <a:lnTo>
                  <a:pt x="123901" y="161461"/>
                </a:lnTo>
                <a:lnTo>
                  <a:pt x="114207" y="171291"/>
                </a:lnTo>
                <a:lnTo>
                  <a:pt x="102371" y="179709"/>
                </a:lnTo>
                <a:lnTo>
                  <a:pt x="89007" y="185585"/>
                </a:lnTo>
                <a:lnTo>
                  <a:pt x="74730" y="187795"/>
                </a:lnTo>
                <a:lnTo>
                  <a:pt x="162246" y="187795"/>
                </a:lnTo>
                <a:lnTo>
                  <a:pt x="162246" y="4261"/>
                </a:lnTo>
                <a:lnTo>
                  <a:pt x="15797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0661021" y="650211"/>
            <a:ext cx="79323" cy="167503"/>
          </a:xfrm>
          <a:custGeom>
            <a:avLst/>
            <a:gdLst/>
            <a:ahLst/>
            <a:cxnLst/>
            <a:rect l="l" t="t" r="r" b="b"/>
            <a:pathLst>
              <a:path w="130809" h="276225">
                <a:moveTo>
                  <a:pt x="61568" y="85191"/>
                </a:moveTo>
                <a:lnTo>
                  <a:pt x="23234" y="85191"/>
                </a:lnTo>
                <a:lnTo>
                  <a:pt x="23234" y="201732"/>
                </a:lnTo>
                <a:lnTo>
                  <a:pt x="27875" y="234419"/>
                </a:lnTo>
                <a:lnTo>
                  <a:pt x="41773" y="257633"/>
                </a:lnTo>
                <a:lnTo>
                  <a:pt x="64891" y="271482"/>
                </a:lnTo>
                <a:lnTo>
                  <a:pt x="97190" y="276075"/>
                </a:lnTo>
                <a:lnTo>
                  <a:pt x="104153" y="276075"/>
                </a:lnTo>
                <a:lnTo>
                  <a:pt x="112677" y="274913"/>
                </a:lnTo>
                <a:lnTo>
                  <a:pt x="120425" y="273363"/>
                </a:lnTo>
                <a:lnTo>
                  <a:pt x="125839" y="272588"/>
                </a:lnTo>
                <a:lnTo>
                  <a:pt x="130488" y="267164"/>
                </a:lnTo>
                <a:lnTo>
                  <a:pt x="130488" y="245102"/>
                </a:lnTo>
                <a:lnTo>
                  <a:pt x="129422" y="244327"/>
                </a:lnTo>
                <a:lnTo>
                  <a:pt x="101054" y="244327"/>
                </a:lnTo>
                <a:lnTo>
                  <a:pt x="83452" y="241611"/>
                </a:lnTo>
                <a:lnTo>
                  <a:pt x="71149" y="233341"/>
                </a:lnTo>
                <a:lnTo>
                  <a:pt x="63927" y="219333"/>
                </a:lnTo>
                <a:lnTo>
                  <a:pt x="61568" y="199407"/>
                </a:lnTo>
                <a:lnTo>
                  <a:pt x="61568" y="85191"/>
                </a:lnTo>
                <a:close/>
              </a:path>
              <a:path w="130809" h="276225">
                <a:moveTo>
                  <a:pt x="126226" y="242003"/>
                </a:moveTo>
                <a:lnTo>
                  <a:pt x="121200" y="242777"/>
                </a:lnTo>
                <a:lnTo>
                  <a:pt x="114226" y="243940"/>
                </a:lnTo>
                <a:lnTo>
                  <a:pt x="107253" y="244327"/>
                </a:lnTo>
                <a:lnTo>
                  <a:pt x="129422" y="244327"/>
                </a:lnTo>
                <a:lnTo>
                  <a:pt x="126226" y="242003"/>
                </a:lnTo>
                <a:close/>
              </a:path>
              <a:path w="130809" h="276225">
                <a:moveTo>
                  <a:pt x="119650" y="54218"/>
                </a:moveTo>
                <a:lnTo>
                  <a:pt x="4649" y="54218"/>
                </a:lnTo>
                <a:lnTo>
                  <a:pt x="0" y="58469"/>
                </a:lnTo>
                <a:lnTo>
                  <a:pt x="0" y="80929"/>
                </a:lnTo>
                <a:lnTo>
                  <a:pt x="4649" y="85191"/>
                </a:lnTo>
                <a:lnTo>
                  <a:pt x="119650" y="85191"/>
                </a:lnTo>
                <a:lnTo>
                  <a:pt x="124289" y="80929"/>
                </a:lnTo>
                <a:lnTo>
                  <a:pt x="124289" y="58469"/>
                </a:lnTo>
                <a:lnTo>
                  <a:pt x="119650" y="54218"/>
                </a:lnTo>
                <a:close/>
              </a:path>
              <a:path w="130809" h="276225">
                <a:moveTo>
                  <a:pt x="57307" y="0"/>
                </a:moveTo>
                <a:lnTo>
                  <a:pt x="32522" y="0"/>
                </a:lnTo>
                <a:lnTo>
                  <a:pt x="27883" y="4261"/>
                </a:lnTo>
                <a:lnTo>
                  <a:pt x="27496" y="9685"/>
                </a:lnTo>
                <a:lnTo>
                  <a:pt x="24009" y="54218"/>
                </a:lnTo>
                <a:lnTo>
                  <a:pt x="61568" y="54218"/>
                </a:lnTo>
                <a:lnTo>
                  <a:pt x="61568" y="4261"/>
                </a:lnTo>
                <a:lnTo>
                  <a:pt x="5730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0769509" y="680972"/>
            <a:ext cx="58530" cy="133617"/>
          </a:xfrm>
          <a:custGeom>
            <a:avLst/>
            <a:gdLst/>
            <a:ahLst/>
            <a:cxnLst/>
            <a:rect l="l" t="t" r="r" b="b"/>
            <a:pathLst>
              <a:path w="96519" h="220344">
                <a:moveTo>
                  <a:pt x="29025" y="3486"/>
                </a:moveTo>
                <a:lnTo>
                  <a:pt x="4251" y="3486"/>
                </a:lnTo>
                <a:lnTo>
                  <a:pt x="0" y="7748"/>
                </a:lnTo>
                <a:lnTo>
                  <a:pt x="0" y="216056"/>
                </a:lnTo>
                <a:lnTo>
                  <a:pt x="4251" y="220317"/>
                </a:lnTo>
                <a:lnTo>
                  <a:pt x="34072" y="220317"/>
                </a:lnTo>
                <a:lnTo>
                  <a:pt x="38323" y="216056"/>
                </a:lnTo>
                <a:lnTo>
                  <a:pt x="38323" y="63495"/>
                </a:lnTo>
                <a:lnTo>
                  <a:pt x="48078" y="51384"/>
                </a:lnTo>
                <a:lnTo>
                  <a:pt x="60588" y="42104"/>
                </a:lnTo>
                <a:lnTo>
                  <a:pt x="74259" y="36164"/>
                </a:lnTo>
                <a:lnTo>
                  <a:pt x="87494" y="34072"/>
                </a:lnTo>
                <a:lnTo>
                  <a:pt x="92531" y="34072"/>
                </a:lnTo>
                <a:lnTo>
                  <a:pt x="96018" y="30972"/>
                </a:lnTo>
                <a:lnTo>
                  <a:pt x="96018" y="29810"/>
                </a:lnTo>
                <a:lnTo>
                  <a:pt x="36386" y="29810"/>
                </a:lnTo>
                <a:lnTo>
                  <a:pt x="34836" y="13161"/>
                </a:lnTo>
                <a:lnTo>
                  <a:pt x="34072" y="7748"/>
                </a:lnTo>
                <a:lnTo>
                  <a:pt x="29025" y="3486"/>
                </a:lnTo>
                <a:close/>
              </a:path>
              <a:path w="96519" h="220344">
                <a:moveTo>
                  <a:pt x="92531" y="0"/>
                </a:moveTo>
                <a:lnTo>
                  <a:pt x="87107" y="0"/>
                </a:lnTo>
                <a:lnTo>
                  <a:pt x="74663" y="2153"/>
                </a:lnTo>
                <a:lnTo>
                  <a:pt x="60439" y="8226"/>
                </a:lnTo>
                <a:lnTo>
                  <a:pt x="46869" y="17638"/>
                </a:lnTo>
                <a:lnTo>
                  <a:pt x="36386" y="29810"/>
                </a:lnTo>
                <a:lnTo>
                  <a:pt x="96018" y="29810"/>
                </a:lnTo>
                <a:lnTo>
                  <a:pt x="96018" y="3099"/>
                </a:lnTo>
                <a:lnTo>
                  <a:pt x="9253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0853097" y="638476"/>
            <a:ext cx="28495" cy="176360"/>
          </a:xfrm>
          <a:custGeom>
            <a:avLst/>
            <a:gdLst/>
            <a:ahLst/>
            <a:cxnLst/>
            <a:rect l="l" t="t" r="r" b="b"/>
            <a:pathLst>
              <a:path w="46990" h="290830">
                <a:moveTo>
                  <a:pt x="22847" y="0"/>
                </a:moveTo>
                <a:lnTo>
                  <a:pt x="13557" y="1348"/>
                </a:lnTo>
                <a:lnTo>
                  <a:pt x="6338" y="5562"/>
                </a:lnTo>
                <a:lnTo>
                  <a:pt x="1663" y="12898"/>
                </a:lnTo>
                <a:lnTo>
                  <a:pt x="0" y="23611"/>
                </a:lnTo>
                <a:lnTo>
                  <a:pt x="1663" y="33818"/>
                </a:lnTo>
                <a:lnTo>
                  <a:pt x="6338" y="40794"/>
                </a:lnTo>
                <a:lnTo>
                  <a:pt x="13557" y="44794"/>
                </a:lnTo>
                <a:lnTo>
                  <a:pt x="22847" y="46071"/>
                </a:lnTo>
                <a:lnTo>
                  <a:pt x="32640" y="44794"/>
                </a:lnTo>
                <a:lnTo>
                  <a:pt x="40218" y="40794"/>
                </a:lnTo>
                <a:lnTo>
                  <a:pt x="45111" y="33818"/>
                </a:lnTo>
                <a:lnTo>
                  <a:pt x="46846" y="23611"/>
                </a:lnTo>
                <a:lnTo>
                  <a:pt x="45111" y="12898"/>
                </a:lnTo>
                <a:lnTo>
                  <a:pt x="40218" y="5562"/>
                </a:lnTo>
                <a:lnTo>
                  <a:pt x="32640" y="1348"/>
                </a:lnTo>
                <a:lnTo>
                  <a:pt x="22847" y="0"/>
                </a:lnTo>
                <a:close/>
              </a:path>
              <a:path w="46990" h="290830">
                <a:moveTo>
                  <a:pt x="38721" y="73568"/>
                </a:moveTo>
                <a:lnTo>
                  <a:pt x="8910" y="73568"/>
                </a:lnTo>
                <a:lnTo>
                  <a:pt x="4649" y="77819"/>
                </a:lnTo>
                <a:lnTo>
                  <a:pt x="4649" y="286137"/>
                </a:lnTo>
                <a:lnTo>
                  <a:pt x="8910" y="290399"/>
                </a:lnTo>
                <a:lnTo>
                  <a:pt x="38721" y="290399"/>
                </a:lnTo>
                <a:lnTo>
                  <a:pt x="42982" y="286137"/>
                </a:lnTo>
                <a:lnTo>
                  <a:pt x="42982" y="77819"/>
                </a:lnTo>
                <a:lnTo>
                  <a:pt x="38721" y="7356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0918848" y="638473"/>
            <a:ext cx="23489" cy="176360"/>
          </a:xfrm>
          <a:custGeom>
            <a:avLst/>
            <a:gdLst/>
            <a:ahLst/>
            <a:cxnLst/>
            <a:rect l="l" t="t" r="r" b="b"/>
            <a:pathLst>
              <a:path w="38734" h="290830">
                <a:moveTo>
                  <a:pt x="34072" y="0"/>
                </a:moveTo>
                <a:lnTo>
                  <a:pt x="4261" y="0"/>
                </a:lnTo>
                <a:lnTo>
                  <a:pt x="0" y="4251"/>
                </a:lnTo>
                <a:lnTo>
                  <a:pt x="0" y="286137"/>
                </a:lnTo>
                <a:lnTo>
                  <a:pt x="4261" y="290399"/>
                </a:lnTo>
                <a:lnTo>
                  <a:pt x="34072" y="290399"/>
                </a:lnTo>
                <a:lnTo>
                  <a:pt x="38333" y="286137"/>
                </a:lnTo>
                <a:lnTo>
                  <a:pt x="38333" y="4251"/>
                </a:lnTo>
                <a:lnTo>
                  <a:pt x="3407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10977080" y="680740"/>
            <a:ext cx="102427" cy="136313"/>
          </a:xfrm>
          <a:custGeom>
            <a:avLst/>
            <a:gdLst/>
            <a:ahLst/>
            <a:cxnLst/>
            <a:rect l="l" t="t" r="r" b="b"/>
            <a:pathLst>
              <a:path w="168909" h="224790">
                <a:moveTo>
                  <a:pt x="84416" y="0"/>
                </a:moveTo>
                <a:lnTo>
                  <a:pt x="49333" y="5498"/>
                </a:lnTo>
                <a:lnTo>
                  <a:pt x="22747" y="21342"/>
                </a:lnTo>
                <a:lnTo>
                  <a:pt x="5892" y="46550"/>
                </a:lnTo>
                <a:lnTo>
                  <a:pt x="0" y="80144"/>
                </a:lnTo>
                <a:lnTo>
                  <a:pt x="0" y="144424"/>
                </a:lnTo>
                <a:lnTo>
                  <a:pt x="5892" y="178018"/>
                </a:lnTo>
                <a:lnTo>
                  <a:pt x="22747" y="203226"/>
                </a:lnTo>
                <a:lnTo>
                  <a:pt x="49333" y="219070"/>
                </a:lnTo>
                <a:lnTo>
                  <a:pt x="84416" y="224569"/>
                </a:lnTo>
                <a:lnTo>
                  <a:pt x="119651" y="219070"/>
                </a:lnTo>
                <a:lnTo>
                  <a:pt x="146216" y="203226"/>
                </a:lnTo>
                <a:lnTo>
                  <a:pt x="153395" y="192433"/>
                </a:lnTo>
                <a:lnTo>
                  <a:pt x="84416" y="192433"/>
                </a:lnTo>
                <a:lnTo>
                  <a:pt x="64798" y="189051"/>
                </a:lnTo>
                <a:lnTo>
                  <a:pt x="50337" y="179027"/>
                </a:lnTo>
                <a:lnTo>
                  <a:pt x="41395" y="162541"/>
                </a:lnTo>
                <a:lnTo>
                  <a:pt x="38333" y="139775"/>
                </a:lnTo>
                <a:lnTo>
                  <a:pt x="38333" y="84793"/>
                </a:lnTo>
                <a:lnTo>
                  <a:pt x="41395" y="62023"/>
                </a:lnTo>
                <a:lnTo>
                  <a:pt x="50337" y="45537"/>
                </a:lnTo>
                <a:lnTo>
                  <a:pt x="64798" y="35515"/>
                </a:lnTo>
                <a:lnTo>
                  <a:pt x="84416" y="32135"/>
                </a:lnTo>
                <a:lnTo>
                  <a:pt x="153395" y="32135"/>
                </a:lnTo>
                <a:lnTo>
                  <a:pt x="146216" y="21342"/>
                </a:lnTo>
                <a:lnTo>
                  <a:pt x="119651" y="5498"/>
                </a:lnTo>
                <a:lnTo>
                  <a:pt x="84416" y="0"/>
                </a:lnTo>
                <a:close/>
              </a:path>
              <a:path w="168909" h="224790">
                <a:moveTo>
                  <a:pt x="153395" y="32135"/>
                </a:moveTo>
                <a:lnTo>
                  <a:pt x="84416" y="32135"/>
                </a:lnTo>
                <a:lnTo>
                  <a:pt x="104189" y="35515"/>
                </a:lnTo>
                <a:lnTo>
                  <a:pt x="118625" y="45537"/>
                </a:lnTo>
                <a:lnTo>
                  <a:pt x="127472" y="62023"/>
                </a:lnTo>
                <a:lnTo>
                  <a:pt x="130477" y="84793"/>
                </a:lnTo>
                <a:lnTo>
                  <a:pt x="130477" y="139775"/>
                </a:lnTo>
                <a:lnTo>
                  <a:pt x="127472" y="162541"/>
                </a:lnTo>
                <a:lnTo>
                  <a:pt x="118625" y="179027"/>
                </a:lnTo>
                <a:lnTo>
                  <a:pt x="104189" y="189051"/>
                </a:lnTo>
                <a:lnTo>
                  <a:pt x="84416" y="192433"/>
                </a:lnTo>
                <a:lnTo>
                  <a:pt x="153395" y="192433"/>
                </a:lnTo>
                <a:lnTo>
                  <a:pt x="162982" y="178018"/>
                </a:lnTo>
                <a:lnTo>
                  <a:pt x="168822" y="144424"/>
                </a:lnTo>
                <a:lnTo>
                  <a:pt x="168822" y="80144"/>
                </a:lnTo>
                <a:lnTo>
                  <a:pt x="162982" y="46550"/>
                </a:lnTo>
                <a:lnTo>
                  <a:pt x="153395" y="321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11104808" y="665477"/>
            <a:ext cx="100502" cy="186756"/>
          </a:xfrm>
          <a:custGeom>
            <a:avLst/>
            <a:gdLst/>
            <a:ahLst/>
            <a:cxnLst/>
            <a:rect l="l" t="t" r="r" b="b"/>
            <a:pathLst>
              <a:path w="165734" h="307975">
                <a:moveTo>
                  <a:pt x="23213" y="260756"/>
                </a:moveTo>
                <a:lnTo>
                  <a:pt x="17245" y="261562"/>
                </a:lnTo>
                <a:lnTo>
                  <a:pt x="2240" y="281279"/>
                </a:lnTo>
                <a:lnTo>
                  <a:pt x="2806" y="287551"/>
                </a:lnTo>
                <a:lnTo>
                  <a:pt x="6889" y="291142"/>
                </a:lnTo>
                <a:lnTo>
                  <a:pt x="9905" y="293844"/>
                </a:lnTo>
                <a:lnTo>
                  <a:pt x="20173" y="299951"/>
                </a:lnTo>
                <a:lnTo>
                  <a:pt x="32277" y="304320"/>
                </a:lnTo>
                <a:lnTo>
                  <a:pt x="46111" y="306946"/>
                </a:lnTo>
                <a:lnTo>
                  <a:pt x="61568" y="307823"/>
                </a:lnTo>
                <a:lnTo>
                  <a:pt x="93316" y="307823"/>
                </a:lnTo>
                <a:lnTo>
                  <a:pt x="123356" y="304053"/>
                </a:lnTo>
                <a:lnTo>
                  <a:pt x="146025" y="292769"/>
                </a:lnTo>
                <a:lnTo>
                  <a:pt x="157288" y="278012"/>
                </a:lnTo>
                <a:lnTo>
                  <a:pt x="65055" y="278012"/>
                </a:lnTo>
                <a:lnTo>
                  <a:pt x="54091" y="277275"/>
                </a:lnTo>
                <a:lnTo>
                  <a:pt x="45138" y="274882"/>
                </a:lnTo>
                <a:lnTo>
                  <a:pt x="36765" y="270560"/>
                </a:lnTo>
                <a:lnTo>
                  <a:pt x="27538" y="264033"/>
                </a:lnTo>
                <a:lnTo>
                  <a:pt x="23213" y="260756"/>
                </a:lnTo>
                <a:close/>
              </a:path>
              <a:path w="165734" h="307975">
                <a:moveTo>
                  <a:pt x="73568" y="25172"/>
                </a:moveTo>
                <a:lnTo>
                  <a:pt x="43122" y="29914"/>
                </a:lnTo>
                <a:lnTo>
                  <a:pt x="19939" y="42786"/>
                </a:lnTo>
                <a:lnTo>
                  <a:pt x="5178" y="61756"/>
                </a:lnTo>
                <a:lnTo>
                  <a:pt x="0" y="84793"/>
                </a:lnTo>
                <a:lnTo>
                  <a:pt x="0" y="109577"/>
                </a:lnTo>
                <a:lnTo>
                  <a:pt x="1542" y="121271"/>
                </a:lnTo>
                <a:lnTo>
                  <a:pt x="5951" y="132566"/>
                </a:lnTo>
                <a:lnTo>
                  <a:pt x="12903" y="142628"/>
                </a:lnTo>
                <a:lnTo>
                  <a:pt x="22072" y="150623"/>
                </a:lnTo>
                <a:lnTo>
                  <a:pt x="18228" y="156864"/>
                </a:lnTo>
                <a:lnTo>
                  <a:pt x="15438" y="163398"/>
                </a:lnTo>
                <a:lnTo>
                  <a:pt x="13736" y="170222"/>
                </a:lnTo>
                <a:lnTo>
                  <a:pt x="13161" y="177334"/>
                </a:lnTo>
                <a:lnTo>
                  <a:pt x="13161" y="185083"/>
                </a:lnTo>
                <a:lnTo>
                  <a:pt x="38562" y="216429"/>
                </a:lnTo>
                <a:lnTo>
                  <a:pt x="65055" y="220317"/>
                </a:lnTo>
                <a:lnTo>
                  <a:pt x="89442" y="220317"/>
                </a:lnTo>
                <a:lnTo>
                  <a:pt x="106093" y="221908"/>
                </a:lnTo>
                <a:lnTo>
                  <a:pt x="117806" y="226945"/>
                </a:lnTo>
                <a:lnTo>
                  <a:pt x="124727" y="235831"/>
                </a:lnTo>
                <a:lnTo>
                  <a:pt x="127001" y="248966"/>
                </a:lnTo>
                <a:lnTo>
                  <a:pt x="124727" y="262162"/>
                </a:lnTo>
                <a:lnTo>
                  <a:pt x="117806" y="271185"/>
                </a:lnTo>
                <a:lnTo>
                  <a:pt x="106093" y="276360"/>
                </a:lnTo>
                <a:lnTo>
                  <a:pt x="89442" y="278012"/>
                </a:lnTo>
                <a:lnTo>
                  <a:pt x="157288" y="278012"/>
                </a:lnTo>
                <a:lnTo>
                  <a:pt x="160344" y="274007"/>
                </a:lnTo>
                <a:lnTo>
                  <a:pt x="165335" y="247803"/>
                </a:lnTo>
                <a:lnTo>
                  <a:pt x="160555" y="223452"/>
                </a:lnTo>
                <a:lnTo>
                  <a:pt x="146845" y="205743"/>
                </a:lnTo>
                <a:lnTo>
                  <a:pt x="125150" y="194932"/>
                </a:lnTo>
                <a:lnTo>
                  <a:pt x="102498" y="192046"/>
                </a:lnTo>
                <a:lnTo>
                  <a:pt x="53432" y="192046"/>
                </a:lnTo>
                <a:lnTo>
                  <a:pt x="50333" y="188172"/>
                </a:lnTo>
                <a:lnTo>
                  <a:pt x="48019" y="183146"/>
                </a:lnTo>
                <a:lnTo>
                  <a:pt x="48019" y="171523"/>
                </a:lnTo>
                <a:lnTo>
                  <a:pt x="50333" y="166884"/>
                </a:lnTo>
                <a:lnTo>
                  <a:pt x="53820" y="163785"/>
                </a:lnTo>
                <a:lnTo>
                  <a:pt x="90273" y="163785"/>
                </a:lnTo>
                <a:lnTo>
                  <a:pt x="105376" y="161469"/>
                </a:lnTo>
                <a:lnTo>
                  <a:pt x="128157" y="149022"/>
                </a:lnTo>
                <a:lnTo>
                  <a:pt x="137987" y="136676"/>
                </a:lnTo>
                <a:lnTo>
                  <a:pt x="73568" y="136676"/>
                </a:lnTo>
                <a:lnTo>
                  <a:pt x="58630" y="134383"/>
                </a:lnTo>
                <a:lnTo>
                  <a:pt x="47286" y="127917"/>
                </a:lnTo>
                <a:lnTo>
                  <a:pt x="40081" y="117893"/>
                </a:lnTo>
                <a:lnTo>
                  <a:pt x="37559" y="104928"/>
                </a:lnTo>
                <a:lnTo>
                  <a:pt x="37559" y="87117"/>
                </a:lnTo>
                <a:lnTo>
                  <a:pt x="40081" y="74213"/>
                </a:lnTo>
                <a:lnTo>
                  <a:pt x="47288" y="64321"/>
                </a:lnTo>
                <a:lnTo>
                  <a:pt x="58630" y="57989"/>
                </a:lnTo>
                <a:lnTo>
                  <a:pt x="73568" y="55757"/>
                </a:lnTo>
                <a:lnTo>
                  <a:pt x="143748" y="55757"/>
                </a:lnTo>
                <a:lnTo>
                  <a:pt x="150352" y="50274"/>
                </a:lnTo>
                <a:lnTo>
                  <a:pt x="157830" y="40654"/>
                </a:lnTo>
                <a:lnTo>
                  <a:pt x="159634" y="36396"/>
                </a:lnTo>
                <a:lnTo>
                  <a:pt x="118101" y="36396"/>
                </a:lnTo>
                <a:lnTo>
                  <a:pt x="109016" y="31864"/>
                </a:lnTo>
                <a:lnTo>
                  <a:pt x="98300" y="28314"/>
                </a:lnTo>
                <a:lnTo>
                  <a:pt x="86351" y="25999"/>
                </a:lnTo>
                <a:lnTo>
                  <a:pt x="73568" y="25172"/>
                </a:lnTo>
                <a:close/>
              </a:path>
              <a:path w="165734" h="307975">
                <a:moveTo>
                  <a:pt x="96415" y="191271"/>
                </a:moveTo>
                <a:lnTo>
                  <a:pt x="61956" y="191271"/>
                </a:lnTo>
                <a:lnTo>
                  <a:pt x="57307" y="191659"/>
                </a:lnTo>
                <a:lnTo>
                  <a:pt x="53432" y="192046"/>
                </a:lnTo>
                <a:lnTo>
                  <a:pt x="102498" y="192046"/>
                </a:lnTo>
                <a:lnTo>
                  <a:pt x="96415" y="191271"/>
                </a:lnTo>
                <a:close/>
              </a:path>
              <a:path w="165734" h="307975">
                <a:moveTo>
                  <a:pt x="90273" y="163785"/>
                </a:moveTo>
                <a:lnTo>
                  <a:pt x="53820" y="163785"/>
                </a:lnTo>
                <a:lnTo>
                  <a:pt x="60019" y="165335"/>
                </a:lnTo>
                <a:lnTo>
                  <a:pt x="67757" y="166110"/>
                </a:lnTo>
                <a:lnTo>
                  <a:pt x="75118" y="166110"/>
                </a:lnTo>
                <a:lnTo>
                  <a:pt x="90273" y="163785"/>
                </a:lnTo>
                <a:close/>
              </a:path>
              <a:path w="165734" h="307975">
                <a:moveTo>
                  <a:pt x="143748" y="55757"/>
                </a:moveTo>
                <a:lnTo>
                  <a:pt x="73568" y="55757"/>
                </a:lnTo>
                <a:lnTo>
                  <a:pt x="88730" y="57989"/>
                </a:lnTo>
                <a:lnTo>
                  <a:pt x="100189" y="64322"/>
                </a:lnTo>
                <a:lnTo>
                  <a:pt x="107436" y="74213"/>
                </a:lnTo>
                <a:lnTo>
                  <a:pt x="109965" y="87117"/>
                </a:lnTo>
                <a:lnTo>
                  <a:pt x="109965" y="104928"/>
                </a:lnTo>
                <a:lnTo>
                  <a:pt x="107436" y="117893"/>
                </a:lnTo>
                <a:lnTo>
                  <a:pt x="100189" y="127917"/>
                </a:lnTo>
                <a:lnTo>
                  <a:pt x="88730" y="134383"/>
                </a:lnTo>
                <a:lnTo>
                  <a:pt x="73568" y="136676"/>
                </a:lnTo>
                <a:lnTo>
                  <a:pt x="137987" y="136676"/>
                </a:lnTo>
                <a:lnTo>
                  <a:pt x="142517" y="130987"/>
                </a:lnTo>
                <a:lnTo>
                  <a:pt x="147513" y="109577"/>
                </a:lnTo>
                <a:lnTo>
                  <a:pt x="147513" y="84793"/>
                </a:lnTo>
                <a:lnTo>
                  <a:pt x="147085" y="78111"/>
                </a:lnTo>
                <a:lnTo>
                  <a:pt x="145825" y="71143"/>
                </a:lnTo>
                <a:lnTo>
                  <a:pt x="143767" y="64321"/>
                </a:lnTo>
                <a:lnTo>
                  <a:pt x="140948" y="58082"/>
                </a:lnTo>
                <a:lnTo>
                  <a:pt x="143748" y="55757"/>
                </a:lnTo>
                <a:close/>
              </a:path>
              <a:path w="165734" h="307975">
                <a:moveTo>
                  <a:pt x="160298" y="0"/>
                </a:moveTo>
                <a:lnTo>
                  <a:pt x="132812" y="0"/>
                </a:lnTo>
                <a:lnTo>
                  <a:pt x="129713" y="2711"/>
                </a:lnTo>
                <a:lnTo>
                  <a:pt x="129713" y="10062"/>
                </a:lnTo>
                <a:lnTo>
                  <a:pt x="128987" y="18422"/>
                </a:lnTo>
                <a:lnTo>
                  <a:pt x="126808" y="25550"/>
                </a:lnTo>
                <a:lnTo>
                  <a:pt x="123179" y="31517"/>
                </a:lnTo>
                <a:lnTo>
                  <a:pt x="118101" y="36396"/>
                </a:lnTo>
                <a:lnTo>
                  <a:pt x="159634" y="36396"/>
                </a:lnTo>
                <a:lnTo>
                  <a:pt x="162767" y="29002"/>
                </a:lnTo>
                <a:lnTo>
                  <a:pt x="164549" y="15099"/>
                </a:lnTo>
                <a:lnTo>
                  <a:pt x="164549" y="13161"/>
                </a:lnTo>
                <a:lnTo>
                  <a:pt x="164173" y="8900"/>
                </a:lnTo>
                <a:lnTo>
                  <a:pt x="163785" y="7748"/>
                </a:lnTo>
                <a:lnTo>
                  <a:pt x="163398" y="3099"/>
                </a:lnTo>
                <a:lnTo>
                  <a:pt x="1602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1228551" y="638476"/>
            <a:ext cx="28495" cy="176360"/>
          </a:xfrm>
          <a:custGeom>
            <a:avLst/>
            <a:gdLst/>
            <a:ahLst/>
            <a:cxnLst/>
            <a:rect l="l" t="t" r="r" b="b"/>
            <a:pathLst>
              <a:path w="46990" h="290830">
                <a:moveTo>
                  <a:pt x="22847" y="0"/>
                </a:moveTo>
                <a:lnTo>
                  <a:pt x="13557" y="1348"/>
                </a:lnTo>
                <a:lnTo>
                  <a:pt x="6338" y="5562"/>
                </a:lnTo>
                <a:lnTo>
                  <a:pt x="1663" y="12898"/>
                </a:lnTo>
                <a:lnTo>
                  <a:pt x="0" y="23611"/>
                </a:lnTo>
                <a:lnTo>
                  <a:pt x="1663" y="33818"/>
                </a:lnTo>
                <a:lnTo>
                  <a:pt x="6338" y="40794"/>
                </a:lnTo>
                <a:lnTo>
                  <a:pt x="13557" y="44794"/>
                </a:lnTo>
                <a:lnTo>
                  <a:pt x="22847" y="46071"/>
                </a:lnTo>
                <a:lnTo>
                  <a:pt x="32640" y="44794"/>
                </a:lnTo>
                <a:lnTo>
                  <a:pt x="40218" y="40794"/>
                </a:lnTo>
                <a:lnTo>
                  <a:pt x="45111" y="33818"/>
                </a:lnTo>
                <a:lnTo>
                  <a:pt x="46846" y="23611"/>
                </a:lnTo>
                <a:lnTo>
                  <a:pt x="45111" y="12898"/>
                </a:lnTo>
                <a:lnTo>
                  <a:pt x="40218" y="5562"/>
                </a:lnTo>
                <a:lnTo>
                  <a:pt x="32640" y="1348"/>
                </a:lnTo>
                <a:lnTo>
                  <a:pt x="22847" y="0"/>
                </a:lnTo>
                <a:close/>
              </a:path>
              <a:path w="46990" h="290830">
                <a:moveTo>
                  <a:pt x="38721" y="73568"/>
                </a:moveTo>
                <a:lnTo>
                  <a:pt x="8910" y="73568"/>
                </a:lnTo>
                <a:lnTo>
                  <a:pt x="4649" y="77819"/>
                </a:lnTo>
                <a:lnTo>
                  <a:pt x="4649" y="286137"/>
                </a:lnTo>
                <a:lnTo>
                  <a:pt x="8910" y="290399"/>
                </a:lnTo>
                <a:lnTo>
                  <a:pt x="38721" y="290399"/>
                </a:lnTo>
                <a:lnTo>
                  <a:pt x="42982" y="286137"/>
                </a:lnTo>
                <a:lnTo>
                  <a:pt x="42982" y="77819"/>
                </a:lnTo>
                <a:lnTo>
                  <a:pt x="38721" y="7356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1291478" y="680740"/>
            <a:ext cx="102042" cy="136313"/>
          </a:xfrm>
          <a:custGeom>
            <a:avLst/>
            <a:gdLst/>
            <a:ahLst/>
            <a:cxnLst/>
            <a:rect l="l" t="t" r="r" b="b"/>
            <a:pathLst>
              <a:path w="168275" h="224790">
                <a:moveTo>
                  <a:pt x="84416" y="0"/>
                </a:moveTo>
                <a:lnTo>
                  <a:pt x="49337" y="5498"/>
                </a:lnTo>
                <a:lnTo>
                  <a:pt x="22751" y="21342"/>
                </a:lnTo>
                <a:lnTo>
                  <a:pt x="5893" y="46550"/>
                </a:lnTo>
                <a:lnTo>
                  <a:pt x="0" y="80144"/>
                </a:lnTo>
                <a:lnTo>
                  <a:pt x="0" y="144424"/>
                </a:lnTo>
                <a:lnTo>
                  <a:pt x="5893" y="178018"/>
                </a:lnTo>
                <a:lnTo>
                  <a:pt x="22751" y="203226"/>
                </a:lnTo>
                <a:lnTo>
                  <a:pt x="49337" y="219070"/>
                </a:lnTo>
                <a:lnTo>
                  <a:pt x="84416" y="224569"/>
                </a:lnTo>
                <a:lnTo>
                  <a:pt x="120046" y="219070"/>
                </a:lnTo>
                <a:lnTo>
                  <a:pt x="146269" y="204194"/>
                </a:lnTo>
                <a:lnTo>
                  <a:pt x="155256" y="192046"/>
                </a:lnTo>
                <a:lnTo>
                  <a:pt x="84416" y="192046"/>
                </a:lnTo>
                <a:lnTo>
                  <a:pt x="64798" y="188725"/>
                </a:lnTo>
                <a:lnTo>
                  <a:pt x="50337" y="178833"/>
                </a:lnTo>
                <a:lnTo>
                  <a:pt x="41395" y="162480"/>
                </a:lnTo>
                <a:lnTo>
                  <a:pt x="38333" y="139775"/>
                </a:lnTo>
                <a:lnTo>
                  <a:pt x="38333" y="84793"/>
                </a:lnTo>
                <a:lnTo>
                  <a:pt x="41395" y="62083"/>
                </a:lnTo>
                <a:lnTo>
                  <a:pt x="50337" y="45731"/>
                </a:lnTo>
                <a:lnTo>
                  <a:pt x="64798" y="35842"/>
                </a:lnTo>
                <a:lnTo>
                  <a:pt x="84416" y="32522"/>
                </a:lnTo>
                <a:lnTo>
                  <a:pt x="155833" y="32522"/>
                </a:lnTo>
                <a:lnTo>
                  <a:pt x="146269" y="19648"/>
                </a:lnTo>
                <a:lnTo>
                  <a:pt x="120025" y="5214"/>
                </a:lnTo>
                <a:lnTo>
                  <a:pt x="84416" y="0"/>
                </a:lnTo>
                <a:close/>
              </a:path>
              <a:path w="168275" h="224790">
                <a:moveTo>
                  <a:pt x="163796" y="146351"/>
                </a:moveTo>
                <a:lnTo>
                  <a:pt x="133200" y="146351"/>
                </a:lnTo>
                <a:lnTo>
                  <a:pt x="129723" y="149838"/>
                </a:lnTo>
                <a:lnTo>
                  <a:pt x="129723" y="155649"/>
                </a:lnTo>
                <a:lnTo>
                  <a:pt x="127054" y="169667"/>
                </a:lnTo>
                <a:lnTo>
                  <a:pt x="118830" y="181253"/>
                </a:lnTo>
                <a:lnTo>
                  <a:pt x="104725" y="189136"/>
                </a:lnTo>
                <a:lnTo>
                  <a:pt x="84416" y="192046"/>
                </a:lnTo>
                <a:lnTo>
                  <a:pt x="155256" y="192046"/>
                </a:lnTo>
                <a:lnTo>
                  <a:pt x="162493" y="182263"/>
                </a:lnTo>
                <a:lnTo>
                  <a:pt x="168047" y="155649"/>
                </a:lnTo>
                <a:lnTo>
                  <a:pt x="168047" y="150225"/>
                </a:lnTo>
                <a:lnTo>
                  <a:pt x="163796" y="146351"/>
                </a:lnTo>
                <a:close/>
              </a:path>
              <a:path w="168275" h="224790">
                <a:moveTo>
                  <a:pt x="155833" y="32522"/>
                </a:moveTo>
                <a:lnTo>
                  <a:pt x="84416" y="32522"/>
                </a:lnTo>
                <a:lnTo>
                  <a:pt x="104235" y="35329"/>
                </a:lnTo>
                <a:lnTo>
                  <a:pt x="118394" y="43073"/>
                </a:lnTo>
                <a:lnTo>
                  <a:pt x="126891" y="54737"/>
                </a:lnTo>
                <a:lnTo>
                  <a:pt x="129648" y="68919"/>
                </a:lnTo>
                <a:lnTo>
                  <a:pt x="129723" y="74720"/>
                </a:lnTo>
                <a:lnTo>
                  <a:pt x="133200" y="78594"/>
                </a:lnTo>
                <a:lnTo>
                  <a:pt x="164173" y="78594"/>
                </a:lnTo>
                <a:lnTo>
                  <a:pt x="168047" y="74720"/>
                </a:lnTo>
                <a:lnTo>
                  <a:pt x="168047" y="68919"/>
                </a:lnTo>
                <a:lnTo>
                  <a:pt x="162493" y="41488"/>
                </a:lnTo>
                <a:lnTo>
                  <a:pt x="155833" y="325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9804140" y="509488"/>
            <a:ext cx="429738" cy="43278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0514647" y="4402789"/>
            <a:ext cx="1308064" cy="9602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 defTabSz="554492" fontAlgn="auto">
              <a:lnSpc>
                <a:spcPct val="104700"/>
              </a:lnSpc>
              <a:spcBef>
                <a:spcPts val="0"/>
              </a:spcBef>
              <a:spcAft>
                <a:spcPts val="0"/>
              </a:spcAft>
            </a:pPr>
            <a:r>
              <a:rPr sz="1486" spc="6" dirty="0">
                <a:solidFill>
                  <a:srgbClr val="1F1F1F"/>
                </a:solidFill>
                <a:latin typeface="Roboto Light"/>
                <a:cs typeface="Roboto Light"/>
              </a:rPr>
              <a:t>7-дневный  </a:t>
            </a:r>
            <a:r>
              <a:rPr sz="1486" spc="6">
                <a:solidFill>
                  <a:srgbClr val="1F1F1F"/>
                </a:solidFill>
                <a:latin typeface="Roboto Light"/>
                <a:cs typeface="Roboto Light"/>
              </a:rPr>
              <a:t>рацион  </a:t>
            </a:r>
            <a:r>
              <a:rPr lang="ru-RU" sz="1486" spc="6" dirty="0">
                <a:solidFill>
                  <a:srgbClr val="1F1F1F"/>
                </a:solidFill>
                <a:latin typeface="Roboto Light"/>
                <a:cs typeface="Roboto Light"/>
              </a:rPr>
              <a:t>обычными</a:t>
            </a:r>
            <a:r>
              <a:rPr sz="1486" spc="6">
                <a:solidFill>
                  <a:srgbClr val="1F1F1F"/>
                </a:solidFill>
                <a:latin typeface="Roboto Light"/>
                <a:cs typeface="Roboto Light"/>
              </a:rPr>
              <a:t>  </a:t>
            </a:r>
            <a:r>
              <a:rPr sz="1486" spc="-6" dirty="0">
                <a:solidFill>
                  <a:srgbClr val="1F1F1F"/>
                </a:solidFill>
                <a:latin typeface="Roboto Light"/>
                <a:cs typeface="Roboto Light"/>
              </a:rPr>
              <a:t>методами</a:t>
            </a:r>
            <a:endParaRPr sz="1486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9307237" y="4283458"/>
            <a:ext cx="1164090" cy="835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lang="en-US" sz="2911" b="1" spc="-3" dirty="0">
                <a:solidFill>
                  <a:srgbClr val="666666"/>
                </a:solidFill>
                <a:latin typeface="Roboto"/>
                <a:cs typeface="Roboto"/>
              </a:rPr>
              <a:t>~</a:t>
            </a:r>
            <a:r>
              <a:rPr lang="ru-RU" sz="5427" b="1" spc="-3" dirty="0">
                <a:solidFill>
                  <a:srgbClr val="666666"/>
                </a:solidFill>
                <a:latin typeface="Roboto"/>
                <a:cs typeface="Roboto"/>
              </a:rPr>
              <a:t>9</a:t>
            </a:r>
            <a:r>
              <a:rPr sz="5427" b="1" spc="-3">
                <a:solidFill>
                  <a:srgbClr val="666666"/>
                </a:solidFill>
                <a:latin typeface="Roboto"/>
                <a:cs typeface="Roboto"/>
              </a:rPr>
              <a:t>0</a:t>
            </a:r>
            <a:endParaRPr sz="5427">
              <a:solidFill>
                <a:prstClr val="black"/>
              </a:solidFill>
              <a:latin typeface="Roboto"/>
              <a:cs typeface="Roboto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499800" y="4490004"/>
            <a:ext cx="452836" cy="4619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lang="ru-RU" sz="3002" b="1" spc="-3" dirty="0">
                <a:solidFill>
                  <a:srgbClr val="666666"/>
                </a:solidFill>
                <a:latin typeface="Roboto"/>
                <a:cs typeface="Roboto"/>
              </a:rPr>
              <a:t>2</a:t>
            </a:r>
            <a:r>
              <a:rPr sz="3002" b="1" spc="-3">
                <a:solidFill>
                  <a:srgbClr val="666666"/>
                </a:solidFill>
                <a:latin typeface="Roboto"/>
                <a:cs typeface="Roboto"/>
              </a:rPr>
              <a:t>0</a:t>
            </a:r>
            <a:endParaRPr sz="3002">
              <a:solidFill>
                <a:prstClr val="black"/>
              </a:solidFill>
              <a:latin typeface="Roboto"/>
              <a:cs typeface="Roboto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107489" y="1979555"/>
            <a:ext cx="234119" cy="4619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sz="3002" b="1" spc="-3" dirty="0">
                <a:solidFill>
                  <a:srgbClr val="158FDB"/>
                </a:solidFill>
                <a:latin typeface="Roboto"/>
                <a:cs typeface="Roboto"/>
              </a:rPr>
              <a:t>1</a:t>
            </a:r>
            <a:endParaRPr sz="3002">
              <a:solidFill>
                <a:prstClr val="black"/>
              </a:solidFill>
              <a:latin typeface="Roboto"/>
              <a:cs typeface="Roboto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9606086" y="4981679"/>
            <a:ext cx="691961" cy="289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sz="1880" spc="9" dirty="0">
                <a:solidFill>
                  <a:srgbClr val="666666"/>
                </a:solidFill>
                <a:latin typeface="Roboto Light"/>
                <a:cs typeface="Roboto Light"/>
              </a:rPr>
              <a:t>минут</a:t>
            </a:r>
            <a:endParaRPr sz="1880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9307231" y="1931693"/>
            <a:ext cx="1077456" cy="835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lang="en-US" sz="2911" b="1" spc="-3" dirty="0">
                <a:solidFill>
                  <a:srgbClr val="158FDB"/>
                </a:solidFill>
                <a:latin typeface="Roboto"/>
                <a:cs typeface="Roboto"/>
              </a:rPr>
              <a:t>~</a:t>
            </a:r>
            <a:r>
              <a:rPr sz="5427" b="1" spc="-3">
                <a:solidFill>
                  <a:srgbClr val="158FDB"/>
                </a:solidFill>
                <a:latin typeface="Roboto"/>
                <a:cs typeface="Roboto"/>
              </a:rPr>
              <a:t>1</a:t>
            </a:r>
            <a:r>
              <a:rPr lang="ru-RU" sz="5427" b="1" spc="-3" dirty="0">
                <a:solidFill>
                  <a:srgbClr val="158FDB"/>
                </a:solidFill>
                <a:latin typeface="Roboto"/>
                <a:cs typeface="Roboto"/>
              </a:rPr>
              <a:t>6</a:t>
            </a:r>
            <a:endParaRPr sz="5427">
              <a:solidFill>
                <a:prstClr val="black"/>
              </a:solidFill>
              <a:latin typeface="Roboto"/>
              <a:cs typeface="Roboto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9606086" y="2604315"/>
            <a:ext cx="691961" cy="289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sz="1880" spc="9" dirty="0">
                <a:solidFill>
                  <a:srgbClr val="158FDB"/>
                </a:solidFill>
                <a:latin typeface="Roboto Light"/>
                <a:cs typeface="Roboto Light"/>
              </a:rPr>
              <a:t>минут</a:t>
            </a:r>
            <a:endParaRPr sz="1880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0514647" y="2078449"/>
            <a:ext cx="1308064" cy="735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53524" defTabSz="554492" fontAlgn="auto">
              <a:lnSpc>
                <a:spcPct val="1075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86" spc="6" dirty="0" smtClean="0">
                <a:solidFill>
                  <a:srgbClr val="158FDB"/>
                </a:solidFill>
                <a:latin typeface="Roboto Light"/>
                <a:cs typeface="Roboto Light"/>
              </a:rPr>
              <a:t>оптимальный</a:t>
            </a:r>
            <a:r>
              <a:rPr sz="1486" spc="6" dirty="0" err="1" smtClean="0">
                <a:solidFill>
                  <a:srgbClr val="158FDB"/>
                </a:solidFill>
                <a:latin typeface="Roboto Light"/>
                <a:cs typeface="Roboto Light"/>
              </a:rPr>
              <a:t>рацион</a:t>
            </a:r>
            <a:endParaRPr sz="1486" dirty="0">
              <a:solidFill>
                <a:prstClr val="black"/>
              </a:solidFill>
              <a:latin typeface="Roboto Light"/>
              <a:cs typeface="Roboto Light"/>
            </a:endParaRPr>
          </a:p>
          <a:p>
            <a:pPr marL="7701" defTabSz="554492" fontAlgn="auto">
              <a:spcBef>
                <a:spcPts val="133"/>
              </a:spcBef>
              <a:spcAft>
                <a:spcPts val="0"/>
              </a:spcAft>
            </a:pPr>
            <a:r>
              <a:rPr sz="1486" b="1" spc="6" dirty="0">
                <a:solidFill>
                  <a:srgbClr val="158FDB"/>
                </a:solidFill>
                <a:latin typeface="Roboto"/>
                <a:cs typeface="Roboto"/>
              </a:rPr>
              <a:t>с</a:t>
            </a:r>
            <a:r>
              <a:rPr sz="1486" b="1" spc="-58" dirty="0">
                <a:solidFill>
                  <a:srgbClr val="158FDB"/>
                </a:solidFill>
                <a:latin typeface="Roboto"/>
                <a:cs typeface="Roboto"/>
              </a:rPr>
              <a:t> </a:t>
            </a:r>
            <a:r>
              <a:rPr sz="1486" b="1" spc="6" dirty="0">
                <a:solidFill>
                  <a:srgbClr val="158FDB"/>
                </a:solidFill>
                <a:latin typeface="Roboto"/>
                <a:cs typeface="Roboto"/>
              </a:rPr>
              <a:t>Nutrilogic</a:t>
            </a:r>
            <a:endParaRPr sz="1486" dirty="0">
              <a:solidFill>
                <a:prstClr val="black"/>
              </a:solidFill>
              <a:latin typeface="Roboto"/>
              <a:cs typeface="Roboto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903881" y="2693576"/>
            <a:ext cx="874867" cy="3862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 defTabSz="554492" fontAlgn="auto">
              <a:lnSpc>
                <a:spcPct val="119500"/>
              </a:lnSpc>
              <a:spcBef>
                <a:spcPts val="0"/>
              </a:spcBef>
              <a:spcAft>
                <a:spcPts val="0"/>
              </a:spcAft>
            </a:pPr>
            <a:r>
              <a:rPr sz="697" dirty="0">
                <a:solidFill>
                  <a:srgbClr val="158FDB"/>
                </a:solidFill>
                <a:latin typeface="Roboto Light"/>
                <a:cs typeface="Roboto Light"/>
              </a:rPr>
              <a:t>Настройка и</a:t>
            </a:r>
            <a:r>
              <a:rPr sz="697" spc="-36" dirty="0">
                <a:solidFill>
                  <a:srgbClr val="158FDB"/>
                </a:solidFill>
                <a:latin typeface="Roboto Light"/>
                <a:cs typeface="Roboto Light"/>
              </a:rPr>
              <a:t> </a:t>
            </a:r>
            <a:r>
              <a:rPr sz="697" spc="-3" dirty="0">
                <a:solidFill>
                  <a:srgbClr val="158FDB"/>
                </a:solidFill>
                <a:latin typeface="Roboto Light"/>
                <a:cs typeface="Roboto Light"/>
              </a:rPr>
              <a:t>автома-  </a:t>
            </a:r>
            <a:r>
              <a:rPr sz="697" dirty="0">
                <a:solidFill>
                  <a:srgbClr val="158FDB"/>
                </a:solidFill>
                <a:latin typeface="Roboto Light"/>
                <a:cs typeface="Roboto Light"/>
              </a:rPr>
              <a:t>тическая генерация  рациона</a:t>
            </a:r>
            <a:endParaRPr sz="697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253200" y="2687264"/>
            <a:ext cx="1014259" cy="3862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 defTabSz="554492" fontAlgn="auto">
              <a:lnSpc>
                <a:spcPct val="119500"/>
              </a:lnSpc>
              <a:spcBef>
                <a:spcPts val="0"/>
              </a:spcBef>
              <a:spcAft>
                <a:spcPts val="0"/>
              </a:spcAft>
            </a:pPr>
            <a:r>
              <a:rPr sz="697" dirty="0">
                <a:solidFill>
                  <a:srgbClr val="158FDB"/>
                </a:solidFill>
                <a:latin typeface="Roboto Light"/>
                <a:cs typeface="Roboto Light"/>
              </a:rPr>
              <a:t>Ручная корректировка  </a:t>
            </a:r>
            <a:r>
              <a:rPr sz="697" spc="-3" dirty="0">
                <a:solidFill>
                  <a:srgbClr val="158FDB"/>
                </a:solidFill>
                <a:latin typeface="Roboto Light"/>
                <a:cs typeface="Roboto Light"/>
              </a:rPr>
              <a:t>отдельных </a:t>
            </a:r>
            <a:r>
              <a:rPr sz="697" dirty="0">
                <a:solidFill>
                  <a:srgbClr val="158FDB"/>
                </a:solidFill>
                <a:latin typeface="Roboto Light"/>
                <a:cs typeface="Roboto Light"/>
              </a:rPr>
              <a:t>блюд </a:t>
            </a:r>
            <a:r>
              <a:rPr sz="697">
                <a:solidFill>
                  <a:srgbClr val="158FDB"/>
                </a:solidFill>
                <a:latin typeface="Roboto Light"/>
                <a:cs typeface="Roboto Light"/>
              </a:rPr>
              <a:t>и</a:t>
            </a:r>
            <a:r>
              <a:rPr sz="697" spc="-49">
                <a:solidFill>
                  <a:srgbClr val="158FDB"/>
                </a:solidFill>
                <a:latin typeface="Roboto Light"/>
                <a:cs typeface="Roboto Light"/>
              </a:rPr>
              <a:t> </a:t>
            </a:r>
            <a:r>
              <a:rPr sz="697">
                <a:solidFill>
                  <a:srgbClr val="158FDB"/>
                </a:solidFill>
                <a:latin typeface="Roboto Light"/>
                <a:cs typeface="Roboto Light"/>
              </a:rPr>
              <a:t>приемов</a:t>
            </a:r>
            <a:r>
              <a:rPr sz="697" spc="-52">
                <a:solidFill>
                  <a:srgbClr val="158FDB"/>
                </a:solidFill>
                <a:latin typeface="Roboto Light"/>
                <a:cs typeface="Roboto Light"/>
              </a:rPr>
              <a:t> </a:t>
            </a:r>
            <a:r>
              <a:rPr sz="697" dirty="0">
                <a:solidFill>
                  <a:srgbClr val="158FDB"/>
                </a:solidFill>
                <a:latin typeface="Roboto Light"/>
                <a:cs typeface="Roboto Light"/>
              </a:rPr>
              <a:t>пищи</a:t>
            </a:r>
            <a:endParaRPr sz="697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graphicFrame>
        <p:nvGraphicFramePr>
          <p:cNvPr id="25" name="object 25"/>
          <p:cNvGraphicFramePr>
            <a:graphicFrameLocks noGrp="1"/>
          </p:cNvGraphicFramePr>
          <p:nvPr>
            <p:extLst/>
          </p:nvPr>
        </p:nvGraphicFramePr>
        <p:xfrm>
          <a:off x="892329" y="5268890"/>
          <a:ext cx="7777053" cy="141008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1765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6959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4602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2013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5116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23541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93706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116179">
                <a:tc>
                  <a:txBody>
                    <a:bodyPr/>
                    <a:lstStyle/>
                    <a:p>
                      <a:pPr marL="31750">
                        <a:lnSpc>
                          <a:spcPts val="1300"/>
                        </a:lnSpc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Выбор</a:t>
                      </a:r>
                      <a:r>
                        <a:rPr sz="700" b="0" spc="-7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spc="-1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подхо-</a:t>
                      </a:r>
                      <a:endParaRPr sz="700" dirty="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466090">
                        <a:lnSpc>
                          <a:spcPts val="1305"/>
                        </a:lnSpc>
                      </a:pPr>
                      <a:r>
                        <a:rPr sz="700" b="0" spc="-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Расчет</a:t>
                      </a:r>
                      <a:r>
                        <a:rPr sz="700" b="0" spc="-5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диапазона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09245">
                        <a:lnSpc>
                          <a:spcPts val="1310"/>
                        </a:lnSpc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Выбор из</a:t>
                      </a:r>
                      <a:r>
                        <a:rPr sz="700" b="0" spc="-7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группы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14960">
                        <a:lnSpc>
                          <a:spcPts val="1310"/>
                        </a:lnSpc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При</a:t>
                      </a:r>
                      <a:r>
                        <a:rPr sz="700" b="0" spc="-8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наличии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415290">
                        <a:lnSpc>
                          <a:spcPts val="1310"/>
                        </a:lnSpc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При</a:t>
                      </a:r>
                      <a:r>
                        <a:rPr sz="700" b="0" spc="-8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наличии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443865">
                        <a:lnSpc>
                          <a:spcPts val="1315"/>
                        </a:lnSpc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Исключение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32740">
                        <a:lnSpc>
                          <a:spcPts val="1315"/>
                        </a:lnSpc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Включение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7029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дящих </a:t>
                      </a:r>
                      <a:r>
                        <a:rPr sz="700" b="0" spc="-1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под</a:t>
                      </a:r>
                      <a:r>
                        <a:rPr sz="700" b="0" spc="-7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за-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4621" marB="0"/>
                </a:tc>
                <a:tc>
                  <a:txBody>
                    <a:bodyPr/>
                    <a:lstStyle/>
                    <a:p>
                      <a:pPr marL="466090">
                        <a:lnSpc>
                          <a:spcPct val="100000"/>
                        </a:lnSpc>
                        <a:spcBef>
                          <a:spcPts val="65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нормы</a:t>
                      </a:r>
                      <a:r>
                        <a:rPr sz="700" b="0" spc="-6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spc="-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суточного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006" marB="0"/>
                </a:tc>
                <a:tc>
                  <a:txBody>
                    <a:bodyPr/>
                    <a:lstStyle/>
                    <a:p>
                      <a:pPr marL="309245">
                        <a:lnSpc>
                          <a:spcPct val="100000"/>
                        </a:lnSpc>
                        <a:spcBef>
                          <a:spcPts val="65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шаблонов</a:t>
                      </a:r>
                      <a:r>
                        <a:rPr sz="700" b="0" spc="-6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spc="-1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подхо-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006" marB="0"/>
                </a:tc>
                <a:tc>
                  <a:txBody>
                    <a:bodyPr/>
                    <a:lstStyle/>
                    <a:p>
                      <a:pPr marL="314960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специфического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391" marB="0"/>
                </a:tc>
                <a:tc>
                  <a:txBody>
                    <a:bodyPr/>
                    <a:lstStyle/>
                    <a:p>
                      <a:pPr marL="415290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аллергий</a:t>
                      </a:r>
                      <a:r>
                        <a:rPr sz="700" b="0" spc="-7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spc="-1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уда-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391" marB="0"/>
                </a:tc>
                <a:tc>
                  <a:txBody>
                    <a:bodyPr/>
                    <a:lstStyle/>
                    <a:p>
                      <a:pPr marL="443865">
                        <a:lnSpc>
                          <a:spcPct val="100000"/>
                        </a:lnSpc>
                        <a:spcBef>
                          <a:spcPts val="75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не</a:t>
                      </a:r>
                      <a:r>
                        <a:rPr sz="700" b="0" spc="-8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употребляемых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776" marB="0"/>
                </a:tc>
                <a:tc>
                  <a:txBody>
                    <a:bodyPr/>
                    <a:lstStyle/>
                    <a:p>
                      <a:pPr marL="332740">
                        <a:lnSpc>
                          <a:spcPct val="100000"/>
                        </a:lnSpc>
                        <a:spcBef>
                          <a:spcPts val="75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употребляемых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776" marB="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27029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болевания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4621" marB="0"/>
                </a:tc>
                <a:tc>
                  <a:txBody>
                    <a:bodyPr/>
                    <a:lstStyle/>
                    <a:p>
                      <a:pPr marL="466090">
                        <a:lnSpc>
                          <a:spcPct val="100000"/>
                        </a:lnSpc>
                        <a:spcBef>
                          <a:spcPts val="65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потребления</a:t>
                      </a:r>
                      <a:r>
                        <a:rPr sz="700" b="0" spc="-8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ка-</a:t>
                      </a:r>
                      <a:endParaRPr sz="700" dirty="0">
                        <a:latin typeface="Roboto Light"/>
                        <a:cs typeface="Roboto Light"/>
                      </a:endParaRPr>
                    </a:p>
                  </a:txBody>
                  <a:tcPr marL="0" marR="0" marT="5006" marB="0"/>
                </a:tc>
                <a:tc>
                  <a:txBody>
                    <a:bodyPr/>
                    <a:lstStyle/>
                    <a:p>
                      <a:pPr marL="309245">
                        <a:lnSpc>
                          <a:spcPct val="100000"/>
                        </a:lnSpc>
                        <a:spcBef>
                          <a:spcPts val="65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дящего по</a:t>
                      </a:r>
                      <a:r>
                        <a:rPr sz="700" b="0" spc="-8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диапа-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006" marB="0"/>
                </a:tc>
                <a:tc>
                  <a:txBody>
                    <a:bodyPr/>
                    <a:lstStyle/>
                    <a:p>
                      <a:pPr marL="314960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вида</a:t>
                      </a:r>
                      <a:r>
                        <a:rPr sz="700" b="0" spc="-8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питания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391" marB="0"/>
                </a:tc>
                <a:tc>
                  <a:txBody>
                    <a:bodyPr/>
                    <a:lstStyle/>
                    <a:p>
                      <a:pPr marL="415290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ление</a:t>
                      </a:r>
                      <a:r>
                        <a:rPr sz="700" b="0" spc="-9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блюд,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391" marB="0"/>
                </a:tc>
                <a:tc>
                  <a:txBody>
                    <a:bodyPr/>
                    <a:lstStyle/>
                    <a:p>
                      <a:pPr marL="443865">
                        <a:lnSpc>
                          <a:spcPct val="100000"/>
                        </a:lnSpc>
                        <a:spcBef>
                          <a:spcPts val="75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блюд на</a:t>
                      </a:r>
                      <a:r>
                        <a:rPr sz="700" b="0" spc="-8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основе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776" marB="0"/>
                </a:tc>
                <a:tc>
                  <a:txBody>
                    <a:bodyPr/>
                    <a:lstStyle/>
                    <a:p>
                      <a:pPr marL="332740">
                        <a:lnSpc>
                          <a:spcPct val="100000"/>
                        </a:lnSpc>
                        <a:spcBef>
                          <a:spcPts val="75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блюд с</a:t>
                      </a:r>
                      <a:r>
                        <a:rPr sz="700" b="0" spc="-10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коррек-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776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27029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группы</a:t>
                      </a:r>
                      <a:r>
                        <a:rPr sz="700" b="0" spc="-9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шаб-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4621" marB="0"/>
                </a:tc>
                <a:tc>
                  <a:txBody>
                    <a:bodyPr/>
                    <a:lstStyle/>
                    <a:p>
                      <a:pPr marL="466090">
                        <a:lnSpc>
                          <a:spcPct val="100000"/>
                        </a:lnSpc>
                        <a:spcBef>
                          <a:spcPts val="65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лорий и </a:t>
                      </a:r>
                      <a:r>
                        <a:rPr sz="700" b="0" spc="-60" dirty="0" smtClean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БЖУ. </a:t>
                      </a:r>
                      <a:r>
                        <a:rPr lang="ru-RU" sz="700" b="0" spc="-60" dirty="0" smtClean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 smtClean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В</a:t>
                      </a:r>
                      <a:r>
                        <a:rPr sz="700" b="0" spc="-10" dirty="0" smtClean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 err="1" smtClean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слу</a:t>
                      </a:r>
                      <a:r>
                        <a:rPr lang="ru-RU" sz="700" b="0" dirty="0" smtClean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-</a:t>
                      </a:r>
                      <a:endParaRPr sz="700" dirty="0">
                        <a:latin typeface="Roboto Light"/>
                        <a:cs typeface="Roboto Light"/>
                      </a:endParaRPr>
                    </a:p>
                  </a:txBody>
                  <a:tcPr marL="0" marR="0" marT="5006" marB="0"/>
                </a:tc>
                <a:tc>
                  <a:txBody>
                    <a:bodyPr/>
                    <a:lstStyle/>
                    <a:p>
                      <a:pPr marL="309245">
                        <a:lnSpc>
                          <a:spcPct val="100000"/>
                        </a:lnSpc>
                        <a:spcBef>
                          <a:spcPts val="65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зону </a:t>
                      </a:r>
                      <a:r>
                        <a:rPr sz="700" b="0" spc="-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суточного</a:t>
                      </a:r>
                      <a:r>
                        <a:rPr sz="700" b="0" spc="-6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по-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006" marB="0"/>
                </a:tc>
                <a:tc>
                  <a:txBody>
                    <a:bodyPr/>
                    <a:lstStyle/>
                    <a:p>
                      <a:pPr marL="314960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корректировка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391" marB="0"/>
                </a:tc>
                <a:tc>
                  <a:txBody>
                    <a:bodyPr/>
                    <a:lstStyle/>
                    <a:p>
                      <a:pPr marL="415290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вызывающих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391" marB="0"/>
                </a:tc>
                <a:tc>
                  <a:txBody>
                    <a:bodyPr/>
                    <a:lstStyle/>
                    <a:p>
                      <a:pPr marL="443865">
                        <a:lnSpc>
                          <a:spcPct val="100000"/>
                        </a:lnSpc>
                        <a:spcBef>
                          <a:spcPts val="75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диетанамнеза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776" marB="0"/>
                </a:tc>
                <a:tc>
                  <a:txBody>
                    <a:bodyPr/>
                    <a:lstStyle/>
                    <a:p>
                      <a:pPr marL="332740">
                        <a:lnSpc>
                          <a:spcPct val="100000"/>
                        </a:lnSpc>
                        <a:spcBef>
                          <a:spcPts val="75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тировкой</a:t>
                      </a:r>
                      <a:r>
                        <a:rPr sz="700" b="0" spc="-9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по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776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27162">
                <a:tc>
                  <a:txBody>
                    <a:bodyPr/>
                    <a:lstStyle/>
                    <a:p>
                      <a:pPr marL="31750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лонов</a:t>
                      </a:r>
                      <a:r>
                        <a:rPr sz="700" b="0" spc="-7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рациона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4621" marB="0"/>
                </a:tc>
                <a:tc>
                  <a:txBody>
                    <a:bodyPr/>
                    <a:lstStyle/>
                    <a:p>
                      <a:pPr marL="466090">
                        <a:lnSpc>
                          <a:spcPct val="100000"/>
                        </a:lnSpc>
                        <a:spcBef>
                          <a:spcPts val="65"/>
                        </a:spcBef>
                      </a:pPr>
                      <a:r>
                        <a:rPr sz="700" b="0" dirty="0" err="1" smtClean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чае</a:t>
                      </a:r>
                      <a:r>
                        <a:rPr sz="700" b="0" spc="-70" dirty="0" smtClean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spc="-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необходимости</a:t>
                      </a:r>
                      <a:endParaRPr sz="700" dirty="0">
                        <a:latin typeface="Roboto Light"/>
                        <a:cs typeface="Roboto Light"/>
                      </a:endParaRPr>
                    </a:p>
                  </a:txBody>
                  <a:tcPr marL="0" marR="0" marT="5006" marB="0"/>
                </a:tc>
                <a:tc>
                  <a:txBody>
                    <a:bodyPr/>
                    <a:lstStyle/>
                    <a:p>
                      <a:pPr marL="309245">
                        <a:lnSpc>
                          <a:spcPct val="100000"/>
                        </a:lnSpc>
                        <a:spcBef>
                          <a:spcPts val="65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требления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006" marB="0"/>
                </a:tc>
                <a:tc>
                  <a:txBody>
                    <a:bodyPr/>
                    <a:lstStyle/>
                    <a:p>
                      <a:pPr marL="314960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блюд</a:t>
                      </a:r>
                      <a:r>
                        <a:rPr sz="700" b="0" spc="-8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шаблона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391" marB="0"/>
                </a:tc>
                <a:tc>
                  <a:txBody>
                    <a:bodyPr/>
                    <a:lstStyle/>
                    <a:p>
                      <a:pPr marL="415290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аллергическую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391" marB="0"/>
                </a:tc>
                <a:tc>
                  <a:txBody>
                    <a:bodyPr/>
                    <a:lstStyle/>
                    <a:p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32740">
                        <a:lnSpc>
                          <a:spcPct val="100000"/>
                        </a:lnSpc>
                        <a:spcBef>
                          <a:spcPts val="75"/>
                        </a:spcBef>
                      </a:pPr>
                      <a:r>
                        <a:rPr sz="700" b="0" spc="-1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частоте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и</a:t>
                      </a:r>
                      <a:r>
                        <a:rPr sz="700" b="0" spc="-7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объему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776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27029">
                <a:tc>
                  <a:txBody>
                    <a:bodyPr/>
                    <a:lstStyle/>
                    <a:p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466090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снижения или</a:t>
                      </a:r>
                      <a:r>
                        <a:rPr sz="700" b="0" spc="-8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наб-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4621" marB="0"/>
                </a:tc>
                <a:tc>
                  <a:txBody>
                    <a:bodyPr/>
                    <a:lstStyle/>
                    <a:p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415290">
                        <a:lnSpc>
                          <a:spcPct val="100000"/>
                        </a:lnSpc>
                        <a:spcBef>
                          <a:spcPts val="70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реакцию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391" marB="0"/>
                </a:tc>
                <a:tc>
                  <a:txBody>
                    <a:bodyPr/>
                    <a:lstStyle/>
                    <a:p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32740">
                        <a:lnSpc>
                          <a:spcPct val="100000"/>
                        </a:lnSpc>
                        <a:spcBef>
                          <a:spcPts val="75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на</a:t>
                      </a:r>
                      <a:r>
                        <a:rPr sz="700" b="0" spc="-8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основе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776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27029">
                <a:tc>
                  <a:txBody>
                    <a:bodyPr/>
                    <a:lstStyle/>
                    <a:p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466090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ора веса -</a:t>
                      </a:r>
                      <a:r>
                        <a:rPr sz="700" b="0" spc="-8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коррек-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4621" marB="0"/>
                </a:tc>
                <a:tc>
                  <a:txBody>
                    <a:bodyPr/>
                    <a:lstStyle/>
                    <a:p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32740">
                        <a:lnSpc>
                          <a:spcPct val="100000"/>
                        </a:lnSpc>
                        <a:spcBef>
                          <a:spcPts val="75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диетанамнеза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5776" marB="0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15156">
                <a:tc>
                  <a:txBody>
                    <a:bodyPr/>
                    <a:lstStyle/>
                    <a:p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466090">
                        <a:lnSpc>
                          <a:spcPct val="100000"/>
                        </a:lnSpc>
                        <a:spcBef>
                          <a:spcPts val="60"/>
                        </a:spcBef>
                      </a:pP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тировка</a:t>
                      </a:r>
                      <a:r>
                        <a:rPr sz="700" b="0" spc="-75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 </a:t>
                      </a:r>
                      <a:r>
                        <a:rPr sz="700" b="0" dirty="0">
                          <a:solidFill>
                            <a:srgbClr val="4E4E4E"/>
                          </a:solidFill>
                          <a:latin typeface="Roboto Light"/>
                          <a:cs typeface="Roboto Light"/>
                        </a:rPr>
                        <a:t>нормы</a:t>
                      </a:r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4621" marB="0"/>
                </a:tc>
                <a:tc>
                  <a:txBody>
                    <a:bodyPr/>
                    <a:lstStyle/>
                    <a:p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70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700" dirty="0">
                        <a:latin typeface="Roboto Light"/>
                        <a:cs typeface="Roboto Light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26" name="object 26"/>
          <p:cNvSpPr/>
          <p:nvPr/>
        </p:nvSpPr>
        <p:spPr>
          <a:xfrm>
            <a:off x="813435" y="3472320"/>
            <a:ext cx="1600359" cy="389881"/>
          </a:xfrm>
          <a:custGeom>
            <a:avLst/>
            <a:gdLst/>
            <a:ahLst/>
            <a:cxnLst/>
            <a:rect l="l" t="t" r="r" b="b"/>
            <a:pathLst>
              <a:path w="3549650" h="884554">
                <a:moveTo>
                  <a:pt x="3457245" y="0"/>
                </a:moveTo>
                <a:lnTo>
                  <a:pt x="92101" y="0"/>
                </a:lnTo>
                <a:lnTo>
                  <a:pt x="56255" y="7237"/>
                </a:lnTo>
                <a:lnTo>
                  <a:pt x="26979" y="26974"/>
                </a:lnTo>
                <a:lnTo>
                  <a:pt x="7239" y="56246"/>
                </a:lnTo>
                <a:lnTo>
                  <a:pt x="0" y="92091"/>
                </a:lnTo>
                <a:lnTo>
                  <a:pt x="0" y="792017"/>
                </a:lnTo>
                <a:lnTo>
                  <a:pt x="7239" y="827862"/>
                </a:lnTo>
                <a:lnTo>
                  <a:pt x="26979" y="857134"/>
                </a:lnTo>
                <a:lnTo>
                  <a:pt x="56255" y="876871"/>
                </a:lnTo>
                <a:lnTo>
                  <a:pt x="92101" y="884109"/>
                </a:lnTo>
                <a:lnTo>
                  <a:pt x="3457245" y="884109"/>
                </a:lnTo>
                <a:lnTo>
                  <a:pt x="3493090" y="876871"/>
                </a:lnTo>
                <a:lnTo>
                  <a:pt x="3522362" y="857134"/>
                </a:lnTo>
                <a:lnTo>
                  <a:pt x="3542099" y="827862"/>
                </a:lnTo>
                <a:lnTo>
                  <a:pt x="3549336" y="792017"/>
                </a:lnTo>
                <a:lnTo>
                  <a:pt x="3549336" y="92091"/>
                </a:lnTo>
                <a:lnTo>
                  <a:pt x="3542099" y="56246"/>
                </a:lnTo>
                <a:lnTo>
                  <a:pt x="3522362" y="26974"/>
                </a:lnTo>
                <a:lnTo>
                  <a:pt x="3493090" y="7237"/>
                </a:lnTo>
                <a:lnTo>
                  <a:pt x="3457245" y="0"/>
                </a:lnTo>
                <a:close/>
              </a:path>
            </a:pathLst>
          </a:custGeom>
          <a:solidFill>
            <a:srgbClr val="949494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919997" y="3539070"/>
            <a:ext cx="1600328" cy="2613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sz="849" b="1" spc="-6" dirty="0">
                <a:solidFill>
                  <a:srgbClr val="FFFFFF"/>
                </a:solidFill>
                <a:latin typeface="Roboto"/>
                <a:cs typeface="Roboto"/>
              </a:rPr>
              <a:t>Регистрация</a:t>
            </a:r>
            <a:r>
              <a:rPr sz="849" b="1" spc="-21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849" b="1" spc="-6" dirty="0">
                <a:solidFill>
                  <a:srgbClr val="FFFFFF"/>
                </a:solidFill>
                <a:latin typeface="Roboto"/>
                <a:cs typeface="Roboto"/>
              </a:rPr>
              <a:t>пациента</a:t>
            </a:r>
            <a:endParaRPr sz="849">
              <a:solidFill>
                <a:prstClr val="black"/>
              </a:solidFill>
              <a:latin typeface="Roboto"/>
              <a:cs typeface="Roboto"/>
            </a:endParaRPr>
          </a:p>
          <a:p>
            <a:pPr marL="7701" defTabSz="554492" fontAlgn="auto">
              <a:spcBef>
                <a:spcPts val="24"/>
              </a:spcBef>
              <a:spcAft>
                <a:spcPts val="0"/>
              </a:spcAft>
            </a:pPr>
            <a:r>
              <a:rPr sz="849" b="1" spc="-6" dirty="0">
                <a:solidFill>
                  <a:srgbClr val="FFFFFF"/>
                </a:solidFill>
                <a:latin typeface="Roboto"/>
                <a:cs typeface="Roboto"/>
              </a:rPr>
              <a:t>и сбор </a:t>
            </a:r>
            <a:r>
              <a:rPr sz="849" b="1" spc="-9" dirty="0">
                <a:solidFill>
                  <a:srgbClr val="FFFFFF"/>
                </a:solidFill>
                <a:latin typeface="Roboto"/>
                <a:cs typeface="Roboto"/>
              </a:rPr>
              <a:t>пищевого</a:t>
            </a:r>
            <a:r>
              <a:rPr sz="849" b="1" spc="21" dirty="0">
                <a:solidFill>
                  <a:srgbClr val="FFFFFF"/>
                </a:solidFill>
                <a:latin typeface="Roboto"/>
                <a:cs typeface="Roboto"/>
              </a:rPr>
              <a:t> </a:t>
            </a:r>
            <a:r>
              <a:rPr sz="849" b="1" spc="-9" dirty="0">
                <a:solidFill>
                  <a:srgbClr val="FFFFFF"/>
                </a:solidFill>
                <a:latin typeface="Roboto"/>
                <a:cs typeface="Roboto"/>
              </a:rPr>
              <a:t>статуса</a:t>
            </a:r>
            <a:endParaRPr sz="849">
              <a:solidFill>
                <a:prstClr val="black"/>
              </a:solidFill>
              <a:latin typeface="Roboto"/>
              <a:cs typeface="Roboto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9451507" y="3324255"/>
            <a:ext cx="2104763" cy="660386"/>
          </a:xfrm>
          <a:custGeom>
            <a:avLst/>
            <a:gdLst/>
            <a:ahLst/>
            <a:cxnLst/>
            <a:rect l="l" t="t" r="r" b="b"/>
            <a:pathLst>
              <a:path w="3470909" h="1089025">
                <a:moveTo>
                  <a:pt x="3274601" y="0"/>
                </a:moveTo>
                <a:lnTo>
                  <a:pt x="196318" y="0"/>
                </a:lnTo>
                <a:lnTo>
                  <a:pt x="151303" y="5184"/>
                </a:lnTo>
                <a:lnTo>
                  <a:pt x="109981" y="19953"/>
                </a:lnTo>
                <a:lnTo>
                  <a:pt x="73530" y="43128"/>
                </a:lnTo>
                <a:lnTo>
                  <a:pt x="43128" y="73530"/>
                </a:lnTo>
                <a:lnTo>
                  <a:pt x="19953" y="109981"/>
                </a:lnTo>
                <a:lnTo>
                  <a:pt x="5184" y="151303"/>
                </a:lnTo>
                <a:lnTo>
                  <a:pt x="0" y="196318"/>
                </a:lnTo>
                <a:lnTo>
                  <a:pt x="0" y="892444"/>
                </a:lnTo>
                <a:lnTo>
                  <a:pt x="5184" y="937455"/>
                </a:lnTo>
                <a:lnTo>
                  <a:pt x="19953" y="978776"/>
                </a:lnTo>
                <a:lnTo>
                  <a:pt x="43128" y="1015227"/>
                </a:lnTo>
                <a:lnTo>
                  <a:pt x="73530" y="1045631"/>
                </a:lnTo>
                <a:lnTo>
                  <a:pt x="109981" y="1068807"/>
                </a:lnTo>
                <a:lnTo>
                  <a:pt x="151303" y="1083577"/>
                </a:lnTo>
                <a:lnTo>
                  <a:pt x="196318" y="1088762"/>
                </a:lnTo>
                <a:lnTo>
                  <a:pt x="3274601" y="1088762"/>
                </a:lnTo>
                <a:lnTo>
                  <a:pt x="3319613" y="1083577"/>
                </a:lnTo>
                <a:lnTo>
                  <a:pt x="3360934" y="1068807"/>
                </a:lnTo>
                <a:lnTo>
                  <a:pt x="3397385" y="1045631"/>
                </a:lnTo>
                <a:lnTo>
                  <a:pt x="3427788" y="1015227"/>
                </a:lnTo>
                <a:lnTo>
                  <a:pt x="3450965" y="978776"/>
                </a:lnTo>
                <a:lnTo>
                  <a:pt x="3465735" y="937455"/>
                </a:lnTo>
                <a:lnTo>
                  <a:pt x="3470920" y="892444"/>
                </a:lnTo>
                <a:lnTo>
                  <a:pt x="3470920" y="196318"/>
                </a:lnTo>
                <a:lnTo>
                  <a:pt x="3465735" y="151303"/>
                </a:lnTo>
                <a:lnTo>
                  <a:pt x="3450965" y="109981"/>
                </a:lnTo>
                <a:lnTo>
                  <a:pt x="3427788" y="73530"/>
                </a:lnTo>
                <a:lnTo>
                  <a:pt x="3397385" y="43128"/>
                </a:lnTo>
                <a:lnTo>
                  <a:pt x="3360934" y="19953"/>
                </a:lnTo>
                <a:lnTo>
                  <a:pt x="3319613" y="5184"/>
                </a:lnTo>
                <a:lnTo>
                  <a:pt x="3274601" y="0"/>
                </a:lnTo>
                <a:close/>
              </a:path>
            </a:pathLst>
          </a:custGeom>
          <a:solidFill>
            <a:srgbClr val="949494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9883192" y="3409890"/>
            <a:ext cx="1510327" cy="4496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94958" marR="3081" indent="-287643" defTabSz="554492" fontAlgn="auto">
              <a:lnSpc>
                <a:spcPct val="111800"/>
              </a:lnSpc>
              <a:spcBef>
                <a:spcPts val="0"/>
              </a:spcBef>
              <a:spcAft>
                <a:spcPts val="0"/>
              </a:spcAft>
            </a:pPr>
            <a:r>
              <a:rPr sz="1304" b="1" spc="-3" dirty="0">
                <a:solidFill>
                  <a:srgbClr val="FFFFFF"/>
                </a:solidFill>
                <a:latin typeface="Roboto"/>
                <a:cs typeface="Roboto"/>
              </a:rPr>
              <a:t>Формирование  рациона</a:t>
            </a:r>
            <a:endParaRPr sz="1304" dirty="0">
              <a:solidFill>
                <a:prstClr val="black"/>
              </a:solidFill>
              <a:latin typeface="Roboto"/>
              <a:cs typeface="Roboto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556008" y="3709650"/>
            <a:ext cx="352719" cy="1097048"/>
          </a:xfrm>
          <a:custGeom>
            <a:avLst/>
            <a:gdLst/>
            <a:ahLst/>
            <a:cxnLst/>
            <a:rect l="l" t="t" r="r" b="b"/>
            <a:pathLst>
              <a:path w="581660" h="1809115">
                <a:moveTo>
                  <a:pt x="244327" y="0"/>
                </a:moveTo>
                <a:lnTo>
                  <a:pt x="0" y="0"/>
                </a:lnTo>
                <a:lnTo>
                  <a:pt x="0" y="1809117"/>
                </a:lnTo>
                <a:lnTo>
                  <a:pt x="581458" y="1809117"/>
                </a:lnTo>
              </a:path>
            </a:pathLst>
          </a:custGeom>
          <a:ln w="20941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549876" y="2312748"/>
            <a:ext cx="358880" cy="1317306"/>
          </a:xfrm>
          <a:custGeom>
            <a:avLst/>
            <a:gdLst/>
            <a:ahLst/>
            <a:cxnLst/>
            <a:rect l="l" t="t" r="r" b="b"/>
            <a:pathLst>
              <a:path w="591819" h="2172335">
                <a:moveTo>
                  <a:pt x="591573" y="0"/>
                </a:moveTo>
                <a:lnTo>
                  <a:pt x="0" y="0"/>
                </a:lnTo>
                <a:lnTo>
                  <a:pt x="0" y="2171839"/>
                </a:lnTo>
                <a:lnTo>
                  <a:pt x="269269" y="2171839"/>
                </a:lnTo>
              </a:path>
            </a:pathLst>
          </a:custGeom>
          <a:ln w="20941">
            <a:solidFill>
              <a:srgbClr val="158FDB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9068233" y="2270029"/>
            <a:ext cx="80864" cy="93571"/>
          </a:xfrm>
          <a:custGeom>
            <a:avLst/>
            <a:gdLst/>
            <a:ahLst/>
            <a:cxnLst/>
            <a:rect l="l" t="t" r="r" b="b"/>
            <a:pathLst>
              <a:path w="133350" h="154304">
                <a:moveTo>
                  <a:pt x="0" y="0"/>
                </a:moveTo>
                <a:lnTo>
                  <a:pt x="0" y="153890"/>
                </a:lnTo>
                <a:lnTo>
                  <a:pt x="133283" y="76950"/>
                </a:lnTo>
                <a:lnTo>
                  <a:pt x="0" y="0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9068233" y="4765283"/>
            <a:ext cx="80864" cy="93571"/>
          </a:xfrm>
          <a:custGeom>
            <a:avLst/>
            <a:gdLst/>
            <a:ahLst/>
            <a:cxnLst/>
            <a:rect l="l" t="t" r="r" b="b"/>
            <a:pathLst>
              <a:path w="133350" h="154304">
                <a:moveTo>
                  <a:pt x="0" y="0"/>
                </a:moveTo>
                <a:lnTo>
                  <a:pt x="0" y="153890"/>
                </a:lnTo>
                <a:lnTo>
                  <a:pt x="133283" y="76940"/>
                </a:lnTo>
                <a:lnTo>
                  <a:pt x="0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1538074" y="2313373"/>
            <a:ext cx="723151" cy="0"/>
          </a:xfrm>
          <a:custGeom>
            <a:avLst/>
            <a:gdLst/>
            <a:ahLst/>
            <a:cxnLst/>
            <a:rect l="l" t="t" r="r" b="b"/>
            <a:pathLst>
              <a:path w="1192529">
                <a:moveTo>
                  <a:pt x="0" y="0"/>
                </a:moveTo>
                <a:lnTo>
                  <a:pt x="1192152" y="0"/>
                </a:lnTo>
              </a:path>
            </a:pathLst>
          </a:custGeom>
          <a:ln w="20941">
            <a:solidFill>
              <a:srgbClr val="158FDB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1565754" y="4806699"/>
            <a:ext cx="524073" cy="0"/>
          </a:xfrm>
          <a:custGeom>
            <a:avLst/>
            <a:gdLst/>
            <a:ahLst/>
            <a:cxnLst/>
            <a:rect l="l" t="t" r="r" b="b"/>
            <a:pathLst>
              <a:path w="864235">
                <a:moveTo>
                  <a:pt x="0" y="0"/>
                </a:moveTo>
                <a:lnTo>
                  <a:pt x="863806" y="0"/>
                </a:lnTo>
              </a:path>
            </a:pathLst>
          </a:custGeom>
          <a:ln w="20941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2718136" y="4806699"/>
            <a:ext cx="524073" cy="0"/>
          </a:xfrm>
          <a:custGeom>
            <a:avLst/>
            <a:gdLst/>
            <a:ahLst/>
            <a:cxnLst/>
            <a:rect l="l" t="t" r="r" b="b"/>
            <a:pathLst>
              <a:path w="864235">
                <a:moveTo>
                  <a:pt x="0" y="0"/>
                </a:moveTo>
                <a:lnTo>
                  <a:pt x="863806" y="0"/>
                </a:lnTo>
              </a:path>
            </a:pathLst>
          </a:custGeom>
          <a:ln w="20941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3880049" y="4806699"/>
            <a:ext cx="524073" cy="0"/>
          </a:xfrm>
          <a:custGeom>
            <a:avLst/>
            <a:gdLst/>
            <a:ahLst/>
            <a:cxnLst/>
            <a:rect l="l" t="t" r="r" b="b"/>
            <a:pathLst>
              <a:path w="864234">
                <a:moveTo>
                  <a:pt x="0" y="0"/>
                </a:moveTo>
                <a:lnTo>
                  <a:pt x="863806" y="0"/>
                </a:lnTo>
              </a:path>
            </a:pathLst>
          </a:custGeom>
          <a:ln w="20941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5041961" y="4806699"/>
            <a:ext cx="524073" cy="0"/>
          </a:xfrm>
          <a:custGeom>
            <a:avLst/>
            <a:gdLst/>
            <a:ahLst/>
            <a:cxnLst/>
            <a:rect l="l" t="t" r="r" b="b"/>
            <a:pathLst>
              <a:path w="864234">
                <a:moveTo>
                  <a:pt x="0" y="0"/>
                </a:moveTo>
                <a:lnTo>
                  <a:pt x="863795" y="0"/>
                </a:lnTo>
              </a:path>
            </a:pathLst>
          </a:custGeom>
          <a:ln w="20941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6213392" y="4806699"/>
            <a:ext cx="524073" cy="0"/>
          </a:xfrm>
          <a:custGeom>
            <a:avLst/>
            <a:gdLst/>
            <a:ahLst/>
            <a:cxnLst/>
            <a:rect l="l" t="t" r="r" b="b"/>
            <a:pathLst>
              <a:path w="864234">
                <a:moveTo>
                  <a:pt x="0" y="0"/>
                </a:moveTo>
                <a:lnTo>
                  <a:pt x="863806" y="0"/>
                </a:lnTo>
              </a:path>
            </a:pathLst>
          </a:custGeom>
          <a:ln w="20941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7384829" y="4806699"/>
            <a:ext cx="524073" cy="0"/>
          </a:xfrm>
          <a:custGeom>
            <a:avLst/>
            <a:gdLst/>
            <a:ahLst/>
            <a:cxnLst/>
            <a:rect l="l" t="t" r="r" b="b"/>
            <a:pathLst>
              <a:path w="864234">
                <a:moveTo>
                  <a:pt x="0" y="0"/>
                </a:moveTo>
                <a:lnTo>
                  <a:pt x="863806" y="0"/>
                </a:lnTo>
              </a:path>
            </a:pathLst>
          </a:custGeom>
          <a:ln w="20941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8546736" y="4806699"/>
            <a:ext cx="524073" cy="0"/>
          </a:xfrm>
          <a:custGeom>
            <a:avLst/>
            <a:gdLst/>
            <a:ahLst/>
            <a:cxnLst/>
            <a:rect l="l" t="t" r="r" b="b"/>
            <a:pathLst>
              <a:path w="864234">
                <a:moveTo>
                  <a:pt x="0" y="0"/>
                </a:moveTo>
                <a:lnTo>
                  <a:pt x="863806" y="0"/>
                </a:lnTo>
              </a:path>
            </a:pathLst>
          </a:custGeom>
          <a:ln w="20941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2889568" y="2313373"/>
            <a:ext cx="6219178" cy="0"/>
          </a:xfrm>
          <a:custGeom>
            <a:avLst/>
            <a:gdLst/>
            <a:ahLst/>
            <a:cxnLst/>
            <a:rect l="l" t="t" r="r" b="b"/>
            <a:pathLst>
              <a:path w="10255885">
                <a:moveTo>
                  <a:pt x="0" y="0"/>
                </a:moveTo>
                <a:lnTo>
                  <a:pt x="10255719" y="0"/>
                </a:lnTo>
              </a:path>
            </a:pathLst>
          </a:custGeom>
          <a:ln w="20941">
            <a:solidFill>
              <a:srgbClr val="158FDB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918131" y="4479708"/>
            <a:ext cx="638437" cy="663081"/>
          </a:xfrm>
          <a:custGeom>
            <a:avLst/>
            <a:gdLst/>
            <a:ahLst/>
            <a:cxnLst/>
            <a:rect l="l" t="t" r="r" b="b"/>
            <a:pathLst>
              <a:path w="1052830" h="1093470">
                <a:moveTo>
                  <a:pt x="934474" y="1093045"/>
                </a:moveTo>
                <a:lnTo>
                  <a:pt x="117786" y="1093045"/>
                </a:lnTo>
                <a:lnTo>
                  <a:pt x="71937" y="1083787"/>
                </a:lnTo>
                <a:lnTo>
                  <a:pt x="34497" y="1058542"/>
                </a:lnTo>
                <a:lnTo>
                  <a:pt x="9255" y="1021098"/>
                </a:lnTo>
                <a:lnTo>
                  <a:pt x="0" y="975247"/>
                </a:lnTo>
                <a:lnTo>
                  <a:pt x="0" y="117797"/>
                </a:lnTo>
                <a:lnTo>
                  <a:pt x="9255" y="71946"/>
                </a:lnTo>
                <a:lnTo>
                  <a:pt x="34497" y="34502"/>
                </a:lnTo>
                <a:lnTo>
                  <a:pt x="71937" y="9257"/>
                </a:lnTo>
                <a:lnTo>
                  <a:pt x="117786" y="0"/>
                </a:lnTo>
                <a:lnTo>
                  <a:pt x="934474" y="0"/>
                </a:lnTo>
                <a:lnTo>
                  <a:pt x="980325" y="9257"/>
                </a:lnTo>
                <a:lnTo>
                  <a:pt x="1017768" y="34502"/>
                </a:lnTo>
                <a:lnTo>
                  <a:pt x="1043014" y="71946"/>
                </a:lnTo>
                <a:lnTo>
                  <a:pt x="1052271" y="117797"/>
                </a:lnTo>
                <a:lnTo>
                  <a:pt x="1052271" y="975247"/>
                </a:lnTo>
                <a:lnTo>
                  <a:pt x="1043014" y="1021098"/>
                </a:lnTo>
                <a:lnTo>
                  <a:pt x="1017768" y="1058542"/>
                </a:lnTo>
                <a:lnTo>
                  <a:pt x="980325" y="1083787"/>
                </a:lnTo>
                <a:lnTo>
                  <a:pt x="934474" y="1093045"/>
                </a:lnTo>
                <a:close/>
              </a:path>
            </a:pathLst>
          </a:custGeom>
          <a:ln w="20941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3453531" y="4490004"/>
            <a:ext cx="234119" cy="4619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sz="3002" b="1" spc="-3" dirty="0">
                <a:solidFill>
                  <a:srgbClr val="666666"/>
                </a:solidFill>
                <a:latin typeface="Roboto"/>
                <a:cs typeface="Roboto"/>
              </a:rPr>
              <a:t>1</a:t>
            </a:r>
            <a:endParaRPr sz="3002" dirty="0">
              <a:solidFill>
                <a:prstClr val="black"/>
              </a:solidFill>
              <a:latin typeface="Roboto"/>
              <a:cs typeface="Roboto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3421479" y="4875131"/>
            <a:ext cx="298425" cy="18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sz="1182" spc="9" dirty="0">
                <a:solidFill>
                  <a:srgbClr val="666666"/>
                </a:solidFill>
                <a:latin typeface="Roboto Light"/>
                <a:cs typeface="Roboto Light"/>
              </a:rPr>
              <a:t>мин</a:t>
            </a:r>
            <a:endParaRPr sz="1182" dirty="0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3251474" y="4479708"/>
            <a:ext cx="638437" cy="663081"/>
          </a:xfrm>
          <a:custGeom>
            <a:avLst/>
            <a:gdLst/>
            <a:ahLst/>
            <a:cxnLst/>
            <a:rect l="l" t="t" r="r" b="b"/>
            <a:pathLst>
              <a:path w="1052829" h="1093470">
                <a:moveTo>
                  <a:pt x="934474" y="1093045"/>
                </a:moveTo>
                <a:lnTo>
                  <a:pt x="117786" y="1093045"/>
                </a:lnTo>
                <a:lnTo>
                  <a:pt x="71937" y="1083787"/>
                </a:lnTo>
                <a:lnTo>
                  <a:pt x="34497" y="1058542"/>
                </a:lnTo>
                <a:lnTo>
                  <a:pt x="9255" y="1021098"/>
                </a:lnTo>
                <a:lnTo>
                  <a:pt x="0" y="975247"/>
                </a:lnTo>
                <a:lnTo>
                  <a:pt x="0" y="117797"/>
                </a:lnTo>
                <a:lnTo>
                  <a:pt x="9255" y="71946"/>
                </a:lnTo>
                <a:lnTo>
                  <a:pt x="34497" y="34502"/>
                </a:lnTo>
                <a:lnTo>
                  <a:pt x="71937" y="9257"/>
                </a:lnTo>
                <a:lnTo>
                  <a:pt x="117786" y="0"/>
                </a:lnTo>
                <a:lnTo>
                  <a:pt x="934474" y="0"/>
                </a:lnTo>
                <a:lnTo>
                  <a:pt x="980325" y="9257"/>
                </a:lnTo>
                <a:lnTo>
                  <a:pt x="1017768" y="34502"/>
                </a:lnTo>
                <a:lnTo>
                  <a:pt x="1043014" y="71946"/>
                </a:lnTo>
                <a:lnTo>
                  <a:pt x="1052271" y="117797"/>
                </a:lnTo>
                <a:lnTo>
                  <a:pt x="1052271" y="975247"/>
                </a:lnTo>
                <a:lnTo>
                  <a:pt x="1043014" y="1021098"/>
                </a:lnTo>
                <a:lnTo>
                  <a:pt x="1017768" y="1058542"/>
                </a:lnTo>
                <a:lnTo>
                  <a:pt x="980325" y="1083787"/>
                </a:lnTo>
                <a:lnTo>
                  <a:pt x="934474" y="1093045"/>
                </a:lnTo>
                <a:close/>
              </a:path>
            </a:pathLst>
          </a:custGeom>
          <a:ln w="20941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4577042" y="4875131"/>
            <a:ext cx="298425" cy="18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sz="1182" spc="9" dirty="0">
                <a:solidFill>
                  <a:srgbClr val="666666"/>
                </a:solidFill>
                <a:latin typeface="Roboto Light"/>
                <a:cs typeface="Roboto Light"/>
              </a:rPr>
              <a:t>мин</a:t>
            </a:r>
            <a:endParaRPr sz="1182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4407031" y="4479708"/>
            <a:ext cx="638437" cy="663081"/>
          </a:xfrm>
          <a:custGeom>
            <a:avLst/>
            <a:gdLst/>
            <a:ahLst/>
            <a:cxnLst/>
            <a:rect l="l" t="t" r="r" b="b"/>
            <a:pathLst>
              <a:path w="1052829" h="1093470">
                <a:moveTo>
                  <a:pt x="934484" y="1093045"/>
                </a:moveTo>
                <a:lnTo>
                  <a:pt x="117797" y="1093045"/>
                </a:lnTo>
                <a:lnTo>
                  <a:pt x="71946" y="1083787"/>
                </a:lnTo>
                <a:lnTo>
                  <a:pt x="34502" y="1058542"/>
                </a:lnTo>
                <a:lnTo>
                  <a:pt x="9257" y="1021098"/>
                </a:lnTo>
                <a:lnTo>
                  <a:pt x="0" y="975247"/>
                </a:lnTo>
                <a:lnTo>
                  <a:pt x="0" y="117797"/>
                </a:lnTo>
                <a:lnTo>
                  <a:pt x="9257" y="71946"/>
                </a:lnTo>
                <a:lnTo>
                  <a:pt x="34502" y="34502"/>
                </a:lnTo>
                <a:lnTo>
                  <a:pt x="71946" y="9257"/>
                </a:lnTo>
                <a:lnTo>
                  <a:pt x="117797" y="0"/>
                </a:lnTo>
                <a:lnTo>
                  <a:pt x="934484" y="0"/>
                </a:lnTo>
                <a:lnTo>
                  <a:pt x="980334" y="9257"/>
                </a:lnTo>
                <a:lnTo>
                  <a:pt x="1017773" y="34502"/>
                </a:lnTo>
                <a:lnTo>
                  <a:pt x="1043015" y="71946"/>
                </a:lnTo>
                <a:lnTo>
                  <a:pt x="1052271" y="117797"/>
                </a:lnTo>
                <a:lnTo>
                  <a:pt x="1052271" y="975247"/>
                </a:lnTo>
                <a:lnTo>
                  <a:pt x="1043015" y="1021098"/>
                </a:lnTo>
                <a:lnTo>
                  <a:pt x="1017773" y="1058542"/>
                </a:lnTo>
                <a:lnTo>
                  <a:pt x="980334" y="1083787"/>
                </a:lnTo>
                <a:lnTo>
                  <a:pt x="934484" y="1093045"/>
                </a:lnTo>
                <a:close/>
              </a:path>
            </a:pathLst>
          </a:custGeom>
          <a:ln w="20941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5668062" y="4490004"/>
            <a:ext cx="452836" cy="4619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lang="ru-RU" sz="3002" b="1" spc="-3" dirty="0">
                <a:solidFill>
                  <a:srgbClr val="666666"/>
                </a:solidFill>
                <a:latin typeface="Roboto"/>
                <a:cs typeface="Roboto"/>
              </a:rPr>
              <a:t>2</a:t>
            </a:r>
            <a:r>
              <a:rPr sz="3002" b="1" spc="-3">
                <a:solidFill>
                  <a:srgbClr val="666666"/>
                </a:solidFill>
                <a:latin typeface="Roboto"/>
                <a:cs typeface="Roboto"/>
              </a:rPr>
              <a:t>0</a:t>
            </a:r>
            <a:endParaRPr sz="3002">
              <a:solidFill>
                <a:prstClr val="black"/>
              </a:solidFill>
              <a:latin typeface="Roboto"/>
              <a:cs typeface="Roboto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5745293" y="4875131"/>
            <a:ext cx="298425" cy="18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sz="1182" spc="9" dirty="0">
                <a:solidFill>
                  <a:srgbClr val="666666"/>
                </a:solidFill>
                <a:latin typeface="Roboto Light"/>
                <a:cs typeface="Roboto Light"/>
              </a:rPr>
              <a:t>мин</a:t>
            </a:r>
            <a:endParaRPr sz="1182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5575287" y="4479708"/>
            <a:ext cx="638437" cy="663081"/>
          </a:xfrm>
          <a:custGeom>
            <a:avLst/>
            <a:gdLst/>
            <a:ahLst/>
            <a:cxnLst/>
            <a:rect l="l" t="t" r="r" b="b"/>
            <a:pathLst>
              <a:path w="1052829" h="1093470">
                <a:moveTo>
                  <a:pt x="934484" y="1093045"/>
                </a:moveTo>
                <a:lnTo>
                  <a:pt x="117797" y="1093045"/>
                </a:lnTo>
                <a:lnTo>
                  <a:pt x="71946" y="1083787"/>
                </a:lnTo>
                <a:lnTo>
                  <a:pt x="34502" y="1058542"/>
                </a:lnTo>
                <a:lnTo>
                  <a:pt x="9257" y="1021098"/>
                </a:lnTo>
                <a:lnTo>
                  <a:pt x="0" y="975247"/>
                </a:lnTo>
                <a:lnTo>
                  <a:pt x="0" y="117797"/>
                </a:lnTo>
                <a:lnTo>
                  <a:pt x="9257" y="71946"/>
                </a:lnTo>
                <a:lnTo>
                  <a:pt x="34502" y="34502"/>
                </a:lnTo>
                <a:lnTo>
                  <a:pt x="71946" y="9257"/>
                </a:lnTo>
                <a:lnTo>
                  <a:pt x="117797" y="0"/>
                </a:lnTo>
                <a:lnTo>
                  <a:pt x="934484" y="0"/>
                </a:lnTo>
                <a:lnTo>
                  <a:pt x="980334" y="9257"/>
                </a:lnTo>
                <a:lnTo>
                  <a:pt x="1017773" y="34502"/>
                </a:lnTo>
                <a:lnTo>
                  <a:pt x="1043015" y="71946"/>
                </a:lnTo>
                <a:lnTo>
                  <a:pt x="1052271" y="117797"/>
                </a:lnTo>
                <a:lnTo>
                  <a:pt x="1052271" y="975247"/>
                </a:lnTo>
                <a:lnTo>
                  <a:pt x="1043015" y="1021098"/>
                </a:lnTo>
                <a:lnTo>
                  <a:pt x="1017773" y="1058542"/>
                </a:lnTo>
                <a:lnTo>
                  <a:pt x="980334" y="1083787"/>
                </a:lnTo>
                <a:lnTo>
                  <a:pt x="934484" y="1093045"/>
                </a:lnTo>
                <a:close/>
              </a:path>
            </a:pathLst>
          </a:custGeom>
          <a:ln w="20941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6913555" y="4875131"/>
            <a:ext cx="298425" cy="18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sz="1182" spc="9" dirty="0">
                <a:solidFill>
                  <a:srgbClr val="666666"/>
                </a:solidFill>
                <a:latin typeface="Roboto Light"/>
                <a:cs typeface="Roboto Light"/>
              </a:rPr>
              <a:t>мин</a:t>
            </a:r>
            <a:endParaRPr sz="1182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6743549" y="4479708"/>
            <a:ext cx="638437" cy="663081"/>
          </a:xfrm>
          <a:custGeom>
            <a:avLst/>
            <a:gdLst/>
            <a:ahLst/>
            <a:cxnLst/>
            <a:rect l="l" t="t" r="r" b="b"/>
            <a:pathLst>
              <a:path w="1052829" h="1093470">
                <a:moveTo>
                  <a:pt x="934484" y="1093045"/>
                </a:moveTo>
                <a:lnTo>
                  <a:pt x="117797" y="1093045"/>
                </a:lnTo>
                <a:lnTo>
                  <a:pt x="71946" y="1083787"/>
                </a:lnTo>
                <a:lnTo>
                  <a:pt x="34502" y="1058542"/>
                </a:lnTo>
                <a:lnTo>
                  <a:pt x="9257" y="1021098"/>
                </a:lnTo>
                <a:lnTo>
                  <a:pt x="0" y="975247"/>
                </a:lnTo>
                <a:lnTo>
                  <a:pt x="0" y="117797"/>
                </a:lnTo>
                <a:lnTo>
                  <a:pt x="9257" y="71946"/>
                </a:lnTo>
                <a:lnTo>
                  <a:pt x="34502" y="34502"/>
                </a:lnTo>
                <a:lnTo>
                  <a:pt x="71946" y="9257"/>
                </a:lnTo>
                <a:lnTo>
                  <a:pt x="117797" y="0"/>
                </a:lnTo>
                <a:lnTo>
                  <a:pt x="934484" y="0"/>
                </a:lnTo>
                <a:lnTo>
                  <a:pt x="980334" y="9257"/>
                </a:lnTo>
                <a:lnTo>
                  <a:pt x="1017773" y="34502"/>
                </a:lnTo>
                <a:lnTo>
                  <a:pt x="1043015" y="71946"/>
                </a:lnTo>
                <a:lnTo>
                  <a:pt x="1052271" y="117797"/>
                </a:lnTo>
                <a:lnTo>
                  <a:pt x="1052271" y="975247"/>
                </a:lnTo>
                <a:lnTo>
                  <a:pt x="1043015" y="1021098"/>
                </a:lnTo>
                <a:lnTo>
                  <a:pt x="1017773" y="1058542"/>
                </a:lnTo>
                <a:lnTo>
                  <a:pt x="980334" y="1083787"/>
                </a:lnTo>
                <a:lnTo>
                  <a:pt x="934484" y="1093045"/>
                </a:lnTo>
                <a:close/>
              </a:path>
            </a:pathLst>
          </a:custGeom>
          <a:ln w="20941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2350587" y="1979555"/>
            <a:ext cx="452836" cy="4619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sz="3002" b="1" spc="-3">
                <a:solidFill>
                  <a:srgbClr val="158FDB"/>
                </a:solidFill>
                <a:latin typeface="Roboto"/>
                <a:cs typeface="Roboto"/>
              </a:rPr>
              <a:t>1</a:t>
            </a:r>
            <a:r>
              <a:rPr lang="ru-RU" sz="3002" b="1" spc="-3" dirty="0">
                <a:solidFill>
                  <a:srgbClr val="158FDB"/>
                </a:solidFill>
                <a:latin typeface="Roboto"/>
                <a:cs typeface="Roboto"/>
              </a:rPr>
              <a:t>5</a:t>
            </a:r>
            <a:endParaRPr sz="3002">
              <a:solidFill>
                <a:prstClr val="black"/>
              </a:solidFill>
              <a:latin typeface="Roboto"/>
              <a:cs typeface="Roboto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2427824" y="2364683"/>
            <a:ext cx="298425" cy="18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sz="1182" spc="9" dirty="0">
                <a:solidFill>
                  <a:srgbClr val="158FDB"/>
                </a:solidFill>
                <a:latin typeface="Roboto Light"/>
                <a:cs typeface="Roboto Light"/>
              </a:rPr>
              <a:t>мин</a:t>
            </a:r>
            <a:endParaRPr sz="1182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2257818" y="1981961"/>
            <a:ext cx="638437" cy="663081"/>
          </a:xfrm>
          <a:custGeom>
            <a:avLst/>
            <a:gdLst/>
            <a:ahLst/>
            <a:cxnLst/>
            <a:rect l="l" t="t" r="r" b="b"/>
            <a:pathLst>
              <a:path w="1052829" h="1093470">
                <a:moveTo>
                  <a:pt x="934474" y="1093045"/>
                </a:moveTo>
                <a:lnTo>
                  <a:pt x="117786" y="1093045"/>
                </a:lnTo>
                <a:lnTo>
                  <a:pt x="71937" y="1083787"/>
                </a:lnTo>
                <a:lnTo>
                  <a:pt x="34497" y="1058542"/>
                </a:lnTo>
                <a:lnTo>
                  <a:pt x="9255" y="1021098"/>
                </a:lnTo>
                <a:lnTo>
                  <a:pt x="0" y="975247"/>
                </a:lnTo>
                <a:lnTo>
                  <a:pt x="0" y="117797"/>
                </a:lnTo>
                <a:lnTo>
                  <a:pt x="9255" y="71946"/>
                </a:lnTo>
                <a:lnTo>
                  <a:pt x="34497" y="34502"/>
                </a:lnTo>
                <a:lnTo>
                  <a:pt x="71937" y="9257"/>
                </a:lnTo>
                <a:lnTo>
                  <a:pt x="117786" y="0"/>
                </a:lnTo>
                <a:lnTo>
                  <a:pt x="934474" y="0"/>
                </a:lnTo>
                <a:lnTo>
                  <a:pt x="980323" y="9257"/>
                </a:lnTo>
                <a:lnTo>
                  <a:pt x="1017763" y="34502"/>
                </a:lnTo>
                <a:lnTo>
                  <a:pt x="1043005" y="71946"/>
                </a:lnTo>
                <a:lnTo>
                  <a:pt x="1052261" y="117797"/>
                </a:lnTo>
                <a:lnTo>
                  <a:pt x="1052261" y="975247"/>
                </a:lnTo>
                <a:lnTo>
                  <a:pt x="1043005" y="1021098"/>
                </a:lnTo>
                <a:lnTo>
                  <a:pt x="1017763" y="1058542"/>
                </a:lnTo>
                <a:lnTo>
                  <a:pt x="980323" y="1083787"/>
                </a:lnTo>
                <a:lnTo>
                  <a:pt x="934474" y="1093045"/>
                </a:lnTo>
                <a:close/>
              </a:path>
            </a:pathLst>
          </a:custGeom>
          <a:ln w="20941">
            <a:solidFill>
              <a:srgbClr val="158FDB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1075437" y="2364683"/>
            <a:ext cx="298425" cy="18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sz="1182" spc="9" dirty="0">
                <a:solidFill>
                  <a:srgbClr val="158FDB"/>
                </a:solidFill>
                <a:latin typeface="Roboto Light"/>
                <a:cs typeface="Roboto Light"/>
              </a:rPr>
              <a:t>мин</a:t>
            </a:r>
            <a:endParaRPr sz="1182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905426" y="1981961"/>
            <a:ext cx="638437" cy="663081"/>
          </a:xfrm>
          <a:custGeom>
            <a:avLst/>
            <a:gdLst/>
            <a:ahLst/>
            <a:cxnLst/>
            <a:rect l="l" t="t" r="r" b="b"/>
            <a:pathLst>
              <a:path w="1052830" h="1093470">
                <a:moveTo>
                  <a:pt x="934484" y="1093045"/>
                </a:moveTo>
                <a:lnTo>
                  <a:pt x="117797" y="1093045"/>
                </a:lnTo>
                <a:lnTo>
                  <a:pt x="71946" y="1083787"/>
                </a:lnTo>
                <a:lnTo>
                  <a:pt x="34502" y="1058542"/>
                </a:lnTo>
                <a:lnTo>
                  <a:pt x="9257" y="1021098"/>
                </a:lnTo>
                <a:lnTo>
                  <a:pt x="0" y="975247"/>
                </a:lnTo>
                <a:lnTo>
                  <a:pt x="0" y="117797"/>
                </a:lnTo>
                <a:lnTo>
                  <a:pt x="9257" y="71946"/>
                </a:lnTo>
                <a:lnTo>
                  <a:pt x="34502" y="34502"/>
                </a:lnTo>
                <a:lnTo>
                  <a:pt x="71946" y="9257"/>
                </a:lnTo>
                <a:lnTo>
                  <a:pt x="117797" y="0"/>
                </a:lnTo>
                <a:lnTo>
                  <a:pt x="934484" y="0"/>
                </a:lnTo>
                <a:lnTo>
                  <a:pt x="980334" y="9257"/>
                </a:lnTo>
                <a:lnTo>
                  <a:pt x="1017773" y="34502"/>
                </a:lnTo>
                <a:lnTo>
                  <a:pt x="1043015" y="71946"/>
                </a:lnTo>
                <a:lnTo>
                  <a:pt x="1052271" y="117797"/>
                </a:lnTo>
                <a:lnTo>
                  <a:pt x="1052271" y="975247"/>
                </a:lnTo>
                <a:lnTo>
                  <a:pt x="1043015" y="1021098"/>
                </a:lnTo>
                <a:lnTo>
                  <a:pt x="1017773" y="1058542"/>
                </a:lnTo>
                <a:lnTo>
                  <a:pt x="980334" y="1083787"/>
                </a:lnTo>
                <a:lnTo>
                  <a:pt x="934484" y="1093045"/>
                </a:lnTo>
                <a:close/>
              </a:path>
            </a:pathLst>
          </a:custGeom>
          <a:ln w="20941">
            <a:solidFill>
              <a:srgbClr val="158FDB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6836324" y="4490004"/>
            <a:ext cx="1624202" cy="46198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  <a:tabLst>
                <a:tab pos="1179066" algn="l"/>
              </a:tabLst>
            </a:pPr>
            <a:r>
              <a:rPr lang="ru-RU" sz="3002" b="1" spc="-3" dirty="0">
                <a:solidFill>
                  <a:srgbClr val="666666"/>
                </a:solidFill>
                <a:latin typeface="Roboto"/>
                <a:cs typeface="Roboto"/>
              </a:rPr>
              <a:t>2</a:t>
            </a:r>
            <a:r>
              <a:rPr sz="3002" b="1" spc="-3">
                <a:solidFill>
                  <a:srgbClr val="666666"/>
                </a:solidFill>
                <a:latin typeface="Roboto"/>
                <a:cs typeface="Roboto"/>
              </a:rPr>
              <a:t>0	2</a:t>
            </a:r>
            <a:r>
              <a:rPr lang="ru-RU" sz="3002" b="1" spc="-3" dirty="0">
                <a:solidFill>
                  <a:srgbClr val="666666"/>
                </a:solidFill>
                <a:latin typeface="Roboto"/>
                <a:cs typeface="Roboto"/>
              </a:rPr>
              <a:t>5</a:t>
            </a:r>
            <a:endParaRPr sz="3002">
              <a:solidFill>
                <a:prstClr val="black"/>
              </a:solidFill>
              <a:latin typeface="Roboto"/>
              <a:cs typeface="Roboto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8084998" y="4875131"/>
            <a:ext cx="298425" cy="18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sz="1182" spc="9" dirty="0">
                <a:solidFill>
                  <a:srgbClr val="666666"/>
                </a:solidFill>
                <a:latin typeface="Roboto Light"/>
                <a:cs typeface="Roboto Light"/>
              </a:rPr>
              <a:t>мин</a:t>
            </a:r>
            <a:endParaRPr sz="1182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7914986" y="4479708"/>
            <a:ext cx="638437" cy="663081"/>
          </a:xfrm>
          <a:custGeom>
            <a:avLst/>
            <a:gdLst/>
            <a:ahLst/>
            <a:cxnLst/>
            <a:rect l="l" t="t" r="r" b="b"/>
            <a:pathLst>
              <a:path w="1052830" h="1093470">
                <a:moveTo>
                  <a:pt x="934484" y="1093045"/>
                </a:moveTo>
                <a:lnTo>
                  <a:pt x="117797" y="1093045"/>
                </a:lnTo>
                <a:lnTo>
                  <a:pt x="71946" y="1083787"/>
                </a:lnTo>
                <a:lnTo>
                  <a:pt x="34502" y="1058542"/>
                </a:lnTo>
                <a:lnTo>
                  <a:pt x="9257" y="1021098"/>
                </a:lnTo>
                <a:lnTo>
                  <a:pt x="0" y="975247"/>
                </a:lnTo>
                <a:lnTo>
                  <a:pt x="0" y="117797"/>
                </a:lnTo>
                <a:lnTo>
                  <a:pt x="9257" y="71946"/>
                </a:lnTo>
                <a:lnTo>
                  <a:pt x="34502" y="34502"/>
                </a:lnTo>
                <a:lnTo>
                  <a:pt x="71946" y="9257"/>
                </a:lnTo>
                <a:lnTo>
                  <a:pt x="117797" y="0"/>
                </a:lnTo>
                <a:lnTo>
                  <a:pt x="934484" y="0"/>
                </a:lnTo>
                <a:lnTo>
                  <a:pt x="980334" y="9257"/>
                </a:lnTo>
                <a:lnTo>
                  <a:pt x="1017773" y="34502"/>
                </a:lnTo>
                <a:lnTo>
                  <a:pt x="1043015" y="71946"/>
                </a:lnTo>
                <a:lnTo>
                  <a:pt x="1052271" y="117797"/>
                </a:lnTo>
                <a:lnTo>
                  <a:pt x="1052271" y="975247"/>
                </a:lnTo>
                <a:lnTo>
                  <a:pt x="1043015" y="1021098"/>
                </a:lnTo>
                <a:lnTo>
                  <a:pt x="1017773" y="1058542"/>
                </a:lnTo>
                <a:lnTo>
                  <a:pt x="980334" y="1083787"/>
                </a:lnTo>
                <a:lnTo>
                  <a:pt x="934484" y="1093045"/>
                </a:lnTo>
                <a:close/>
              </a:path>
            </a:pathLst>
          </a:custGeom>
          <a:ln w="20941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2089568" y="4479708"/>
            <a:ext cx="638437" cy="663081"/>
          </a:xfrm>
          <a:custGeom>
            <a:avLst/>
            <a:gdLst/>
            <a:ahLst/>
            <a:cxnLst/>
            <a:rect l="l" t="t" r="r" b="b"/>
            <a:pathLst>
              <a:path w="1052829" h="1093470">
                <a:moveTo>
                  <a:pt x="934474" y="1093045"/>
                </a:moveTo>
                <a:lnTo>
                  <a:pt x="117786" y="1093045"/>
                </a:lnTo>
                <a:lnTo>
                  <a:pt x="71937" y="1083787"/>
                </a:lnTo>
                <a:lnTo>
                  <a:pt x="34497" y="1058542"/>
                </a:lnTo>
                <a:lnTo>
                  <a:pt x="9255" y="1021098"/>
                </a:lnTo>
                <a:lnTo>
                  <a:pt x="0" y="975247"/>
                </a:lnTo>
                <a:lnTo>
                  <a:pt x="0" y="117797"/>
                </a:lnTo>
                <a:lnTo>
                  <a:pt x="9255" y="71946"/>
                </a:lnTo>
                <a:lnTo>
                  <a:pt x="34497" y="34502"/>
                </a:lnTo>
                <a:lnTo>
                  <a:pt x="71937" y="9257"/>
                </a:lnTo>
                <a:lnTo>
                  <a:pt x="117786" y="0"/>
                </a:lnTo>
                <a:lnTo>
                  <a:pt x="934474" y="0"/>
                </a:lnTo>
                <a:lnTo>
                  <a:pt x="980325" y="9257"/>
                </a:lnTo>
                <a:lnTo>
                  <a:pt x="1017768" y="34502"/>
                </a:lnTo>
                <a:lnTo>
                  <a:pt x="1043014" y="71946"/>
                </a:lnTo>
                <a:lnTo>
                  <a:pt x="1052271" y="117797"/>
                </a:lnTo>
                <a:lnTo>
                  <a:pt x="1052271" y="975247"/>
                </a:lnTo>
                <a:lnTo>
                  <a:pt x="1043014" y="1021098"/>
                </a:lnTo>
                <a:lnTo>
                  <a:pt x="1017768" y="1058542"/>
                </a:lnTo>
                <a:lnTo>
                  <a:pt x="980325" y="1083787"/>
                </a:lnTo>
                <a:lnTo>
                  <a:pt x="934474" y="1093045"/>
                </a:lnTo>
                <a:close/>
              </a:path>
            </a:pathLst>
          </a:custGeom>
          <a:ln w="20941">
            <a:solidFill>
              <a:srgbClr val="666666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682998" y="3688480"/>
            <a:ext cx="59300" cy="59300"/>
          </a:xfrm>
          <a:custGeom>
            <a:avLst/>
            <a:gdLst/>
            <a:ahLst/>
            <a:cxnLst/>
            <a:rect l="l" t="t" r="r" b="b"/>
            <a:pathLst>
              <a:path w="97790" h="97789">
                <a:moveTo>
                  <a:pt x="48867" y="0"/>
                </a:moveTo>
                <a:lnTo>
                  <a:pt x="29848" y="3841"/>
                </a:lnTo>
                <a:lnTo>
                  <a:pt x="14315" y="14315"/>
                </a:lnTo>
                <a:lnTo>
                  <a:pt x="3841" y="29848"/>
                </a:lnTo>
                <a:lnTo>
                  <a:pt x="0" y="48867"/>
                </a:lnTo>
                <a:lnTo>
                  <a:pt x="3841" y="67891"/>
                </a:lnTo>
                <a:lnTo>
                  <a:pt x="14315" y="83424"/>
                </a:lnTo>
                <a:lnTo>
                  <a:pt x="29848" y="93895"/>
                </a:lnTo>
                <a:lnTo>
                  <a:pt x="48867" y="97735"/>
                </a:lnTo>
                <a:lnTo>
                  <a:pt x="67886" y="93895"/>
                </a:lnTo>
                <a:lnTo>
                  <a:pt x="83420" y="83424"/>
                </a:lnTo>
                <a:lnTo>
                  <a:pt x="93894" y="67891"/>
                </a:lnTo>
                <a:lnTo>
                  <a:pt x="97735" y="48867"/>
                </a:lnTo>
                <a:lnTo>
                  <a:pt x="93894" y="29848"/>
                </a:lnTo>
                <a:lnTo>
                  <a:pt x="83420" y="14315"/>
                </a:lnTo>
                <a:lnTo>
                  <a:pt x="67886" y="3841"/>
                </a:lnTo>
                <a:lnTo>
                  <a:pt x="48867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682998" y="3599586"/>
            <a:ext cx="59300" cy="59300"/>
          </a:xfrm>
          <a:custGeom>
            <a:avLst/>
            <a:gdLst/>
            <a:ahLst/>
            <a:cxnLst/>
            <a:rect l="l" t="t" r="r" b="b"/>
            <a:pathLst>
              <a:path w="97790" h="97789">
                <a:moveTo>
                  <a:pt x="48867" y="0"/>
                </a:moveTo>
                <a:lnTo>
                  <a:pt x="29848" y="3841"/>
                </a:lnTo>
                <a:lnTo>
                  <a:pt x="14315" y="14315"/>
                </a:lnTo>
                <a:lnTo>
                  <a:pt x="3841" y="29848"/>
                </a:lnTo>
                <a:lnTo>
                  <a:pt x="0" y="48867"/>
                </a:lnTo>
                <a:lnTo>
                  <a:pt x="3841" y="67891"/>
                </a:lnTo>
                <a:lnTo>
                  <a:pt x="14315" y="83424"/>
                </a:lnTo>
                <a:lnTo>
                  <a:pt x="29848" y="93895"/>
                </a:lnTo>
                <a:lnTo>
                  <a:pt x="48867" y="97735"/>
                </a:lnTo>
                <a:lnTo>
                  <a:pt x="67886" y="93895"/>
                </a:lnTo>
                <a:lnTo>
                  <a:pt x="83420" y="83424"/>
                </a:lnTo>
                <a:lnTo>
                  <a:pt x="93894" y="67891"/>
                </a:lnTo>
                <a:lnTo>
                  <a:pt x="97735" y="48867"/>
                </a:lnTo>
                <a:lnTo>
                  <a:pt x="93894" y="29848"/>
                </a:lnTo>
                <a:lnTo>
                  <a:pt x="83420" y="14315"/>
                </a:lnTo>
                <a:lnTo>
                  <a:pt x="67886" y="3841"/>
                </a:lnTo>
                <a:lnTo>
                  <a:pt x="48867" y="0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5" name="object 17"/>
          <p:cNvSpPr txBox="1"/>
          <p:nvPr/>
        </p:nvSpPr>
        <p:spPr>
          <a:xfrm>
            <a:off x="1070377" y="4537697"/>
            <a:ext cx="367641" cy="4231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9662" defTabSz="554492" fontAlgn="auto">
              <a:lnSpc>
                <a:spcPts val="3317"/>
              </a:lnSpc>
              <a:spcBef>
                <a:spcPts val="0"/>
              </a:spcBef>
              <a:spcAft>
                <a:spcPts val="0"/>
              </a:spcAft>
              <a:tabLst>
                <a:tab pos="1211026" algn="l"/>
              </a:tabLst>
            </a:pPr>
            <a:r>
              <a:rPr sz="3002" b="1" spc="-3" dirty="0">
                <a:solidFill>
                  <a:srgbClr val="666666"/>
                </a:solidFill>
                <a:latin typeface="Roboto"/>
                <a:cs typeface="Roboto"/>
              </a:rPr>
              <a:t>1</a:t>
            </a:r>
          </a:p>
        </p:txBody>
      </p:sp>
      <p:sp>
        <p:nvSpPr>
          <p:cNvPr id="66" name="object 17"/>
          <p:cNvSpPr txBox="1"/>
          <p:nvPr/>
        </p:nvSpPr>
        <p:spPr>
          <a:xfrm>
            <a:off x="2263568" y="4526299"/>
            <a:ext cx="368377" cy="4231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9662" defTabSz="554492" fontAlgn="auto">
              <a:lnSpc>
                <a:spcPts val="3317"/>
              </a:lnSpc>
              <a:spcBef>
                <a:spcPts val="0"/>
              </a:spcBef>
              <a:spcAft>
                <a:spcPts val="0"/>
              </a:spcAft>
              <a:tabLst>
                <a:tab pos="1211026" algn="l"/>
              </a:tabLst>
            </a:pPr>
            <a:r>
              <a:rPr sz="3002" b="1" spc="-3" dirty="0">
                <a:solidFill>
                  <a:srgbClr val="666666"/>
                </a:solidFill>
                <a:latin typeface="Roboto"/>
                <a:cs typeface="Roboto"/>
              </a:rPr>
              <a:t>3</a:t>
            </a:r>
            <a:endParaRPr sz="3002" dirty="0">
              <a:solidFill>
                <a:prstClr val="black"/>
              </a:solidFill>
              <a:latin typeface="Roboto"/>
              <a:cs typeface="Roboto"/>
            </a:endParaRPr>
          </a:p>
        </p:txBody>
      </p:sp>
      <p:sp>
        <p:nvSpPr>
          <p:cNvPr id="68" name="object 45"/>
          <p:cNvSpPr txBox="1"/>
          <p:nvPr/>
        </p:nvSpPr>
        <p:spPr>
          <a:xfrm>
            <a:off x="1084714" y="4867791"/>
            <a:ext cx="298425" cy="18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sz="1182" spc="9" dirty="0">
                <a:solidFill>
                  <a:srgbClr val="666666"/>
                </a:solidFill>
                <a:latin typeface="Roboto Light"/>
                <a:cs typeface="Roboto Light"/>
              </a:rPr>
              <a:t>мин</a:t>
            </a:r>
            <a:endParaRPr sz="1182" dirty="0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69" name="object 45"/>
          <p:cNvSpPr txBox="1"/>
          <p:nvPr/>
        </p:nvSpPr>
        <p:spPr>
          <a:xfrm>
            <a:off x="2257911" y="4885467"/>
            <a:ext cx="298425" cy="1819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sz="1182" spc="9" dirty="0">
                <a:solidFill>
                  <a:srgbClr val="666666"/>
                </a:solidFill>
                <a:latin typeface="Roboto Light"/>
                <a:cs typeface="Roboto Light"/>
              </a:rPr>
              <a:t>мин</a:t>
            </a:r>
            <a:endParaRPr sz="1182" dirty="0">
              <a:solidFill>
                <a:prstClr val="black"/>
              </a:solidFill>
              <a:latin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1651659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ject 15"/>
          <p:cNvSpPr/>
          <p:nvPr/>
        </p:nvSpPr>
        <p:spPr>
          <a:xfrm>
            <a:off x="430" y="1850069"/>
            <a:ext cx="12191144" cy="4728208"/>
          </a:xfrm>
          <a:custGeom>
            <a:avLst/>
            <a:gdLst/>
            <a:ahLst/>
            <a:cxnLst/>
            <a:rect l="l" t="t" r="r" b="b"/>
            <a:pathLst>
              <a:path w="20104100" h="7797165">
                <a:moveTo>
                  <a:pt x="954315" y="2686253"/>
                </a:moveTo>
                <a:lnTo>
                  <a:pt x="908917" y="2689632"/>
                </a:lnTo>
                <a:lnTo>
                  <a:pt x="864039" y="2697941"/>
                </a:lnTo>
                <a:lnTo>
                  <a:pt x="820101" y="2711173"/>
                </a:lnTo>
                <a:lnTo>
                  <a:pt x="777521" y="2729321"/>
                </a:lnTo>
                <a:lnTo>
                  <a:pt x="736721" y="2752376"/>
                </a:lnTo>
                <a:lnTo>
                  <a:pt x="0" y="3224613"/>
                </a:lnTo>
                <a:lnTo>
                  <a:pt x="0" y="7796935"/>
                </a:lnTo>
                <a:lnTo>
                  <a:pt x="20104099" y="7796935"/>
                </a:lnTo>
                <a:lnTo>
                  <a:pt x="20104099" y="3413772"/>
                </a:lnTo>
                <a:lnTo>
                  <a:pt x="2443551" y="3413772"/>
                </a:lnTo>
                <a:lnTo>
                  <a:pt x="2397402" y="3412446"/>
                </a:lnTo>
                <a:lnTo>
                  <a:pt x="2351615" y="3406047"/>
                </a:lnTo>
                <a:lnTo>
                  <a:pt x="2306623" y="3394588"/>
                </a:lnTo>
                <a:lnTo>
                  <a:pt x="2262863" y="3378083"/>
                </a:lnTo>
                <a:lnTo>
                  <a:pt x="2220770" y="3356547"/>
                </a:lnTo>
                <a:lnTo>
                  <a:pt x="1174414" y="2743581"/>
                </a:lnTo>
                <a:lnTo>
                  <a:pt x="1132711" y="2722194"/>
                </a:lnTo>
                <a:lnTo>
                  <a:pt x="1089431" y="2705775"/>
                </a:lnTo>
                <a:lnTo>
                  <a:pt x="1044991" y="2694317"/>
                </a:lnTo>
                <a:lnTo>
                  <a:pt x="999813" y="2687812"/>
                </a:lnTo>
                <a:lnTo>
                  <a:pt x="954315" y="2686253"/>
                </a:lnTo>
                <a:close/>
              </a:path>
              <a:path w="20104100" h="7797165">
                <a:moveTo>
                  <a:pt x="3414144" y="3016375"/>
                </a:moveTo>
                <a:lnTo>
                  <a:pt x="3364400" y="3019070"/>
                </a:lnTo>
                <a:lnTo>
                  <a:pt x="3315318" y="3027664"/>
                </a:lnTo>
                <a:lnTo>
                  <a:pt x="3267430" y="3042098"/>
                </a:lnTo>
                <a:lnTo>
                  <a:pt x="3221263" y="3062315"/>
                </a:lnTo>
                <a:lnTo>
                  <a:pt x="2623061" y="3368064"/>
                </a:lnTo>
                <a:lnTo>
                  <a:pt x="2579816" y="3387170"/>
                </a:lnTo>
                <a:lnTo>
                  <a:pt x="2535193" y="3401148"/>
                </a:lnTo>
                <a:lnTo>
                  <a:pt x="2489626" y="3410010"/>
                </a:lnTo>
                <a:lnTo>
                  <a:pt x="2443551" y="3413772"/>
                </a:lnTo>
                <a:lnTo>
                  <a:pt x="20104099" y="3413772"/>
                </a:lnTo>
                <a:lnTo>
                  <a:pt x="20104099" y="3206399"/>
                </a:lnTo>
                <a:lnTo>
                  <a:pt x="4266141" y="3206399"/>
                </a:lnTo>
                <a:lnTo>
                  <a:pt x="4219944" y="3202808"/>
                </a:lnTo>
                <a:lnTo>
                  <a:pt x="4174009" y="3194038"/>
                </a:lnTo>
                <a:lnTo>
                  <a:pt x="3513505" y="3028913"/>
                </a:lnTo>
                <a:lnTo>
                  <a:pt x="3464022" y="3019636"/>
                </a:lnTo>
                <a:lnTo>
                  <a:pt x="3414144" y="3016375"/>
                </a:lnTo>
                <a:close/>
              </a:path>
              <a:path w="20104100" h="7797165">
                <a:moveTo>
                  <a:pt x="8469156" y="308253"/>
                </a:moveTo>
                <a:lnTo>
                  <a:pt x="8421796" y="308962"/>
                </a:lnTo>
                <a:lnTo>
                  <a:pt x="8374954" y="314990"/>
                </a:lnTo>
                <a:lnTo>
                  <a:pt x="8329084" y="326250"/>
                </a:lnTo>
                <a:lnTo>
                  <a:pt x="8284639" y="342656"/>
                </a:lnTo>
                <a:lnTo>
                  <a:pt x="8242075" y="364122"/>
                </a:lnTo>
                <a:lnTo>
                  <a:pt x="8201844" y="390564"/>
                </a:lnTo>
                <a:lnTo>
                  <a:pt x="4525516" y="3123779"/>
                </a:lnTo>
                <a:lnTo>
                  <a:pt x="4486487" y="3149538"/>
                </a:lnTo>
                <a:lnTo>
                  <a:pt x="4445222" y="3170611"/>
                </a:lnTo>
                <a:lnTo>
                  <a:pt x="4402140" y="3186916"/>
                </a:lnTo>
                <a:lnTo>
                  <a:pt x="4357655" y="3198371"/>
                </a:lnTo>
                <a:lnTo>
                  <a:pt x="4312183" y="3204892"/>
                </a:lnTo>
                <a:lnTo>
                  <a:pt x="4266141" y="3206399"/>
                </a:lnTo>
                <a:lnTo>
                  <a:pt x="20104099" y="3206399"/>
                </a:lnTo>
                <a:lnTo>
                  <a:pt x="20104099" y="1478704"/>
                </a:lnTo>
                <a:lnTo>
                  <a:pt x="17457747" y="1478704"/>
                </a:lnTo>
                <a:lnTo>
                  <a:pt x="17412036" y="1477116"/>
                </a:lnTo>
                <a:lnTo>
                  <a:pt x="17366539" y="1470501"/>
                </a:lnTo>
                <a:lnTo>
                  <a:pt x="17349770" y="1466129"/>
                </a:lnTo>
                <a:lnTo>
                  <a:pt x="12732043" y="1466129"/>
                </a:lnTo>
                <a:lnTo>
                  <a:pt x="12681791" y="1461647"/>
                </a:lnTo>
                <a:lnTo>
                  <a:pt x="12632076" y="1451055"/>
                </a:lnTo>
                <a:lnTo>
                  <a:pt x="8563613" y="323131"/>
                </a:lnTo>
                <a:lnTo>
                  <a:pt x="8516580" y="312947"/>
                </a:lnTo>
                <a:lnTo>
                  <a:pt x="8469156" y="308253"/>
                </a:lnTo>
                <a:close/>
              </a:path>
              <a:path w="20104100" h="7797165">
                <a:moveTo>
                  <a:pt x="18928586" y="338037"/>
                </a:moveTo>
                <a:lnTo>
                  <a:pt x="18880717" y="340158"/>
                </a:lnTo>
                <a:lnTo>
                  <a:pt x="18833536" y="347698"/>
                </a:lnTo>
                <a:lnTo>
                  <a:pt x="18787517" y="360557"/>
                </a:lnTo>
                <a:lnTo>
                  <a:pt x="18743135" y="378632"/>
                </a:lnTo>
                <a:lnTo>
                  <a:pt x="18700866" y="401820"/>
                </a:lnTo>
                <a:lnTo>
                  <a:pt x="18661184" y="430019"/>
                </a:lnTo>
                <a:lnTo>
                  <a:pt x="18624563" y="463127"/>
                </a:lnTo>
                <a:lnTo>
                  <a:pt x="17748045" y="1353676"/>
                </a:lnTo>
                <a:lnTo>
                  <a:pt x="17712729" y="1385742"/>
                </a:lnTo>
                <a:lnTo>
                  <a:pt x="17674653" y="1413165"/>
                </a:lnTo>
                <a:lnTo>
                  <a:pt x="17634242" y="1435888"/>
                </a:lnTo>
                <a:lnTo>
                  <a:pt x="17591920" y="1453859"/>
                </a:lnTo>
                <a:lnTo>
                  <a:pt x="17548114" y="1467021"/>
                </a:lnTo>
                <a:lnTo>
                  <a:pt x="17503248" y="1475321"/>
                </a:lnTo>
                <a:lnTo>
                  <a:pt x="17457747" y="1478704"/>
                </a:lnTo>
                <a:lnTo>
                  <a:pt x="20104099" y="1478704"/>
                </a:lnTo>
                <a:lnTo>
                  <a:pt x="20104099" y="442868"/>
                </a:lnTo>
                <a:lnTo>
                  <a:pt x="19344285" y="442868"/>
                </a:lnTo>
                <a:lnTo>
                  <a:pt x="19297231" y="439198"/>
                </a:lnTo>
                <a:lnTo>
                  <a:pt x="19250532" y="430162"/>
                </a:lnTo>
                <a:lnTo>
                  <a:pt x="19204640" y="415694"/>
                </a:lnTo>
                <a:lnTo>
                  <a:pt x="19071565" y="365224"/>
                </a:lnTo>
                <a:lnTo>
                  <a:pt x="19024485" y="350468"/>
                </a:lnTo>
                <a:lnTo>
                  <a:pt x="18976667" y="341440"/>
                </a:lnTo>
                <a:lnTo>
                  <a:pt x="18928586" y="338037"/>
                </a:lnTo>
                <a:close/>
              </a:path>
              <a:path w="20104100" h="7797165">
                <a:moveTo>
                  <a:pt x="15295632" y="325461"/>
                </a:moveTo>
                <a:lnTo>
                  <a:pt x="15244316" y="326481"/>
                </a:lnTo>
                <a:lnTo>
                  <a:pt x="15193328" y="333798"/>
                </a:lnTo>
                <a:lnTo>
                  <a:pt x="15143263" y="347437"/>
                </a:lnTo>
                <a:lnTo>
                  <a:pt x="15094713" y="367423"/>
                </a:lnTo>
                <a:lnTo>
                  <a:pt x="12927564" y="1423935"/>
                </a:lnTo>
                <a:lnTo>
                  <a:pt x="12880593" y="1443403"/>
                </a:lnTo>
                <a:lnTo>
                  <a:pt x="12831987" y="1456957"/>
                </a:lnTo>
                <a:lnTo>
                  <a:pt x="12782290" y="1464549"/>
                </a:lnTo>
                <a:lnTo>
                  <a:pt x="12732043" y="1466129"/>
                </a:lnTo>
                <a:lnTo>
                  <a:pt x="17349770" y="1466129"/>
                </a:lnTo>
                <a:lnTo>
                  <a:pt x="17321683" y="1458806"/>
                </a:lnTo>
                <a:lnTo>
                  <a:pt x="17277891" y="1441976"/>
                </a:lnTo>
                <a:lnTo>
                  <a:pt x="17235590" y="1419956"/>
                </a:lnTo>
                <a:lnTo>
                  <a:pt x="15492303" y="383862"/>
                </a:lnTo>
                <a:lnTo>
                  <a:pt x="15445611" y="359939"/>
                </a:lnTo>
                <a:lnTo>
                  <a:pt x="15396873" y="342214"/>
                </a:lnTo>
                <a:lnTo>
                  <a:pt x="15346682" y="330713"/>
                </a:lnTo>
                <a:lnTo>
                  <a:pt x="15295632" y="325461"/>
                </a:lnTo>
                <a:close/>
              </a:path>
              <a:path w="20104100" h="7797165">
                <a:moveTo>
                  <a:pt x="20104099" y="0"/>
                </a:moveTo>
                <a:lnTo>
                  <a:pt x="20044637" y="26753"/>
                </a:lnTo>
                <a:lnTo>
                  <a:pt x="19987443" y="64186"/>
                </a:lnTo>
                <a:lnTo>
                  <a:pt x="19608827" y="355905"/>
                </a:lnTo>
                <a:lnTo>
                  <a:pt x="19569108" y="383041"/>
                </a:lnTo>
                <a:lnTo>
                  <a:pt x="19527040" y="405208"/>
                </a:lnTo>
                <a:lnTo>
                  <a:pt x="19483072" y="422341"/>
                </a:lnTo>
                <a:lnTo>
                  <a:pt x="19437657" y="434372"/>
                </a:lnTo>
                <a:lnTo>
                  <a:pt x="19391244" y="441237"/>
                </a:lnTo>
                <a:lnTo>
                  <a:pt x="19344285" y="442868"/>
                </a:lnTo>
                <a:lnTo>
                  <a:pt x="20104099" y="442868"/>
                </a:lnTo>
                <a:lnTo>
                  <a:pt x="20104099" y="0"/>
                </a:lnTo>
                <a:close/>
              </a:path>
            </a:pathLst>
          </a:custGeom>
          <a:solidFill>
            <a:srgbClr val="EDEFE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3708567" y="1650884"/>
            <a:ext cx="1968362" cy="1447698"/>
          </a:xfrm>
          <a:prstGeom prst="rect">
            <a:avLst/>
          </a:prstGeom>
          <a:blipFill dpi="0" rotWithShape="1">
            <a:blip r:embed="rId3" cstate="print">
              <a:alphaModFix amt="40000"/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3770924" y="1713092"/>
            <a:ext cx="1847307" cy="1322426"/>
          </a:xfrm>
          <a:prstGeom prst="rect">
            <a:avLst/>
          </a:prstGeom>
          <a:blipFill dpi="0" rotWithShape="1">
            <a:blip r:embed="rId4" cstate="print"/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" name="object 2"/>
          <p:cNvSpPr/>
          <p:nvPr/>
        </p:nvSpPr>
        <p:spPr>
          <a:xfrm>
            <a:off x="428" y="0"/>
            <a:ext cx="12191144" cy="138420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0381129" y="650214"/>
            <a:ext cx="119370" cy="164423"/>
          </a:xfrm>
          <a:custGeom>
            <a:avLst/>
            <a:gdLst/>
            <a:ahLst/>
            <a:cxnLst/>
            <a:rect l="l" t="t" r="r" b="b"/>
            <a:pathLst>
              <a:path w="196850" h="271144">
                <a:moveTo>
                  <a:pt x="41810" y="0"/>
                </a:moveTo>
                <a:lnTo>
                  <a:pt x="4251" y="0"/>
                </a:lnTo>
                <a:lnTo>
                  <a:pt x="0" y="4251"/>
                </a:lnTo>
                <a:lnTo>
                  <a:pt x="0" y="266777"/>
                </a:lnTo>
                <a:lnTo>
                  <a:pt x="4251" y="271038"/>
                </a:lnTo>
                <a:lnTo>
                  <a:pt x="35632" y="271038"/>
                </a:lnTo>
                <a:lnTo>
                  <a:pt x="40271" y="266777"/>
                </a:lnTo>
                <a:lnTo>
                  <a:pt x="39883" y="261353"/>
                </a:lnTo>
                <a:lnTo>
                  <a:pt x="39108" y="67369"/>
                </a:lnTo>
                <a:lnTo>
                  <a:pt x="82619" y="67369"/>
                </a:lnTo>
                <a:lnTo>
                  <a:pt x="50344" y="8523"/>
                </a:lnTo>
                <a:lnTo>
                  <a:pt x="47632" y="3476"/>
                </a:lnTo>
                <a:lnTo>
                  <a:pt x="41810" y="0"/>
                </a:lnTo>
                <a:close/>
              </a:path>
              <a:path w="196850" h="271144">
                <a:moveTo>
                  <a:pt x="82619" y="67369"/>
                </a:moveTo>
                <a:lnTo>
                  <a:pt x="39108" y="67369"/>
                </a:lnTo>
                <a:lnTo>
                  <a:pt x="145597" y="262526"/>
                </a:lnTo>
                <a:lnTo>
                  <a:pt x="148299" y="267552"/>
                </a:lnTo>
                <a:lnTo>
                  <a:pt x="154110" y="271038"/>
                </a:lnTo>
                <a:lnTo>
                  <a:pt x="192444" y="271038"/>
                </a:lnTo>
                <a:lnTo>
                  <a:pt x="196695" y="266777"/>
                </a:lnTo>
                <a:lnTo>
                  <a:pt x="196695" y="204056"/>
                </a:lnTo>
                <a:lnTo>
                  <a:pt x="157586" y="204056"/>
                </a:lnTo>
                <a:lnTo>
                  <a:pt x="82619" y="67369"/>
                </a:lnTo>
                <a:close/>
              </a:path>
              <a:path w="196850" h="271144">
                <a:moveTo>
                  <a:pt x="192444" y="0"/>
                </a:moveTo>
                <a:lnTo>
                  <a:pt x="161073" y="0"/>
                </a:lnTo>
                <a:lnTo>
                  <a:pt x="156822" y="4251"/>
                </a:lnTo>
                <a:lnTo>
                  <a:pt x="156822" y="9675"/>
                </a:lnTo>
                <a:lnTo>
                  <a:pt x="157586" y="204056"/>
                </a:lnTo>
                <a:lnTo>
                  <a:pt x="196695" y="204056"/>
                </a:lnTo>
                <a:lnTo>
                  <a:pt x="196695" y="4251"/>
                </a:lnTo>
                <a:lnTo>
                  <a:pt x="19244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0538446" y="683086"/>
            <a:ext cx="98577" cy="134002"/>
          </a:xfrm>
          <a:custGeom>
            <a:avLst/>
            <a:gdLst/>
            <a:ahLst/>
            <a:cxnLst/>
            <a:rect l="l" t="t" r="r" b="b"/>
            <a:pathLst>
              <a:path w="162559" h="220980">
                <a:moveTo>
                  <a:pt x="34082" y="0"/>
                </a:moveTo>
                <a:lnTo>
                  <a:pt x="4272" y="0"/>
                </a:lnTo>
                <a:lnTo>
                  <a:pt x="0" y="4251"/>
                </a:lnTo>
                <a:lnTo>
                  <a:pt x="0" y="147524"/>
                </a:lnTo>
                <a:lnTo>
                  <a:pt x="3448" y="179211"/>
                </a:lnTo>
                <a:lnTo>
                  <a:pt x="14811" y="202112"/>
                </a:lnTo>
                <a:lnTo>
                  <a:pt x="35613" y="216013"/>
                </a:lnTo>
                <a:lnTo>
                  <a:pt x="67380" y="220694"/>
                </a:lnTo>
                <a:lnTo>
                  <a:pt x="83700" y="218819"/>
                </a:lnTo>
                <a:lnTo>
                  <a:pt x="99226" y="213532"/>
                </a:lnTo>
                <a:lnTo>
                  <a:pt x="113446" y="205339"/>
                </a:lnTo>
                <a:lnTo>
                  <a:pt x="125849" y="194747"/>
                </a:lnTo>
                <a:lnTo>
                  <a:pt x="162246" y="194747"/>
                </a:lnTo>
                <a:lnTo>
                  <a:pt x="162246" y="187784"/>
                </a:lnTo>
                <a:lnTo>
                  <a:pt x="74730" y="187784"/>
                </a:lnTo>
                <a:lnTo>
                  <a:pt x="56636" y="185117"/>
                </a:lnTo>
                <a:lnTo>
                  <a:pt x="45507" y="176896"/>
                </a:lnTo>
                <a:lnTo>
                  <a:pt x="39893" y="162795"/>
                </a:lnTo>
                <a:lnTo>
                  <a:pt x="38344" y="142487"/>
                </a:lnTo>
                <a:lnTo>
                  <a:pt x="38344" y="4251"/>
                </a:lnTo>
                <a:lnTo>
                  <a:pt x="34082" y="0"/>
                </a:lnTo>
                <a:close/>
              </a:path>
              <a:path w="162559" h="220980">
                <a:moveTo>
                  <a:pt x="162246" y="194747"/>
                </a:moveTo>
                <a:lnTo>
                  <a:pt x="125849" y="194747"/>
                </a:lnTo>
                <a:lnTo>
                  <a:pt x="127001" y="207145"/>
                </a:lnTo>
                <a:lnTo>
                  <a:pt x="127388" y="212569"/>
                </a:lnTo>
                <a:lnTo>
                  <a:pt x="132435" y="216831"/>
                </a:lnTo>
                <a:lnTo>
                  <a:pt x="157974" y="216831"/>
                </a:lnTo>
                <a:lnTo>
                  <a:pt x="162246" y="212569"/>
                </a:lnTo>
                <a:lnTo>
                  <a:pt x="162246" y="194747"/>
                </a:lnTo>
                <a:close/>
              </a:path>
              <a:path w="162559" h="220980">
                <a:moveTo>
                  <a:pt x="157974" y="0"/>
                </a:moveTo>
                <a:lnTo>
                  <a:pt x="128174" y="0"/>
                </a:lnTo>
                <a:lnTo>
                  <a:pt x="123901" y="4251"/>
                </a:lnTo>
                <a:lnTo>
                  <a:pt x="123901" y="161461"/>
                </a:lnTo>
                <a:lnTo>
                  <a:pt x="114207" y="171290"/>
                </a:lnTo>
                <a:lnTo>
                  <a:pt x="102371" y="179703"/>
                </a:lnTo>
                <a:lnTo>
                  <a:pt x="89007" y="185577"/>
                </a:lnTo>
                <a:lnTo>
                  <a:pt x="74730" y="187784"/>
                </a:lnTo>
                <a:lnTo>
                  <a:pt x="162246" y="187784"/>
                </a:lnTo>
                <a:lnTo>
                  <a:pt x="162246" y="4251"/>
                </a:lnTo>
                <a:lnTo>
                  <a:pt x="15797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10661021" y="650217"/>
            <a:ext cx="79323" cy="167503"/>
          </a:xfrm>
          <a:custGeom>
            <a:avLst/>
            <a:gdLst/>
            <a:ahLst/>
            <a:cxnLst/>
            <a:rect l="l" t="t" r="r" b="b"/>
            <a:pathLst>
              <a:path w="130809" h="276225">
                <a:moveTo>
                  <a:pt x="61568" y="85180"/>
                </a:moveTo>
                <a:lnTo>
                  <a:pt x="23234" y="85180"/>
                </a:lnTo>
                <a:lnTo>
                  <a:pt x="23234" y="201721"/>
                </a:lnTo>
                <a:lnTo>
                  <a:pt x="27875" y="234413"/>
                </a:lnTo>
                <a:lnTo>
                  <a:pt x="41773" y="257626"/>
                </a:lnTo>
                <a:lnTo>
                  <a:pt x="64891" y="271473"/>
                </a:lnTo>
                <a:lnTo>
                  <a:pt x="97190" y="276064"/>
                </a:lnTo>
                <a:lnTo>
                  <a:pt x="104153" y="276064"/>
                </a:lnTo>
                <a:lnTo>
                  <a:pt x="112677" y="274902"/>
                </a:lnTo>
                <a:lnTo>
                  <a:pt x="120425" y="273352"/>
                </a:lnTo>
                <a:lnTo>
                  <a:pt x="125839" y="272578"/>
                </a:lnTo>
                <a:lnTo>
                  <a:pt x="130488" y="267154"/>
                </a:lnTo>
                <a:lnTo>
                  <a:pt x="130488" y="245092"/>
                </a:lnTo>
                <a:lnTo>
                  <a:pt x="129422" y="244317"/>
                </a:lnTo>
                <a:lnTo>
                  <a:pt x="101054" y="244317"/>
                </a:lnTo>
                <a:lnTo>
                  <a:pt x="83452" y="241601"/>
                </a:lnTo>
                <a:lnTo>
                  <a:pt x="71149" y="233331"/>
                </a:lnTo>
                <a:lnTo>
                  <a:pt x="63927" y="219327"/>
                </a:lnTo>
                <a:lnTo>
                  <a:pt x="61568" y="199407"/>
                </a:lnTo>
                <a:lnTo>
                  <a:pt x="61568" y="85180"/>
                </a:lnTo>
                <a:close/>
              </a:path>
              <a:path w="130809" h="276225">
                <a:moveTo>
                  <a:pt x="126226" y="241992"/>
                </a:moveTo>
                <a:lnTo>
                  <a:pt x="121200" y="242767"/>
                </a:lnTo>
                <a:lnTo>
                  <a:pt x="114226" y="243929"/>
                </a:lnTo>
                <a:lnTo>
                  <a:pt x="107253" y="244317"/>
                </a:lnTo>
                <a:lnTo>
                  <a:pt x="129422" y="244317"/>
                </a:lnTo>
                <a:lnTo>
                  <a:pt x="126226" y="241992"/>
                </a:lnTo>
                <a:close/>
              </a:path>
              <a:path w="130809" h="276225">
                <a:moveTo>
                  <a:pt x="119650" y="54207"/>
                </a:moveTo>
                <a:lnTo>
                  <a:pt x="4649" y="54207"/>
                </a:lnTo>
                <a:lnTo>
                  <a:pt x="0" y="58458"/>
                </a:lnTo>
                <a:lnTo>
                  <a:pt x="0" y="80919"/>
                </a:lnTo>
                <a:lnTo>
                  <a:pt x="4649" y="85180"/>
                </a:lnTo>
                <a:lnTo>
                  <a:pt x="119650" y="85180"/>
                </a:lnTo>
                <a:lnTo>
                  <a:pt x="124289" y="80919"/>
                </a:lnTo>
                <a:lnTo>
                  <a:pt x="124289" y="58458"/>
                </a:lnTo>
                <a:lnTo>
                  <a:pt x="119650" y="54207"/>
                </a:lnTo>
                <a:close/>
              </a:path>
              <a:path w="130809" h="276225">
                <a:moveTo>
                  <a:pt x="57307" y="0"/>
                </a:moveTo>
                <a:lnTo>
                  <a:pt x="32522" y="0"/>
                </a:lnTo>
                <a:lnTo>
                  <a:pt x="27883" y="4251"/>
                </a:lnTo>
                <a:lnTo>
                  <a:pt x="27496" y="9675"/>
                </a:lnTo>
                <a:lnTo>
                  <a:pt x="24009" y="54207"/>
                </a:lnTo>
                <a:lnTo>
                  <a:pt x="61568" y="54207"/>
                </a:lnTo>
                <a:lnTo>
                  <a:pt x="61568" y="4251"/>
                </a:lnTo>
                <a:lnTo>
                  <a:pt x="5730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10769509" y="680972"/>
            <a:ext cx="58530" cy="133617"/>
          </a:xfrm>
          <a:custGeom>
            <a:avLst/>
            <a:gdLst/>
            <a:ahLst/>
            <a:cxnLst/>
            <a:rect l="l" t="t" r="r" b="b"/>
            <a:pathLst>
              <a:path w="96519" h="220344">
                <a:moveTo>
                  <a:pt x="29025" y="3486"/>
                </a:moveTo>
                <a:lnTo>
                  <a:pt x="4251" y="3486"/>
                </a:lnTo>
                <a:lnTo>
                  <a:pt x="0" y="7737"/>
                </a:lnTo>
                <a:lnTo>
                  <a:pt x="0" y="216056"/>
                </a:lnTo>
                <a:lnTo>
                  <a:pt x="4251" y="220317"/>
                </a:lnTo>
                <a:lnTo>
                  <a:pt x="34072" y="220317"/>
                </a:lnTo>
                <a:lnTo>
                  <a:pt x="38323" y="216056"/>
                </a:lnTo>
                <a:lnTo>
                  <a:pt x="38323" y="63495"/>
                </a:lnTo>
                <a:lnTo>
                  <a:pt x="48078" y="51384"/>
                </a:lnTo>
                <a:lnTo>
                  <a:pt x="60588" y="42104"/>
                </a:lnTo>
                <a:lnTo>
                  <a:pt x="74259" y="36164"/>
                </a:lnTo>
                <a:lnTo>
                  <a:pt x="87494" y="34072"/>
                </a:lnTo>
                <a:lnTo>
                  <a:pt x="92531" y="34072"/>
                </a:lnTo>
                <a:lnTo>
                  <a:pt x="96018" y="30972"/>
                </a:lnTo>
                <a:lnTo>
                  <a:pt x="96018" y="29821"/>
                </a:lnTo>
                <a:lnTo>
                  <a:pt x="36386" y="29821"/>
                </a:lnTo>
                <a:lnTo>
                  <a:pt x="34836" y="13161"/>
                </a:lnTo>
                <a:lnTo>
                  <a:pt x="34072" y="7737"/>
                </a:lnTo>
                <a:lnTo>
                  <a:pt x="29025" y="3486"/>
                </a:lnTo>
                <a:close/>
              </a:path>
              <a:path w="96519" h="220344">
                <a:moveTo>
                  <a:pt x="92531" y="0"/>
                </a:moveTo>
                <a:lnTo>
                  <a:pt x="87107" y="0"/>
                </a:lnTo>
                <a:lnTo>
                  <a:pt x="74663" y="2153"/>
                </a:lnTo>
                <a:lnTo>
                  <a:pt x="60439" y="8227"/>
                </a:lnTo>
                <a:lnTo>
                  <a:pt x="46869" y="17643"/>
                </a:lnTo>
                <a:lnTo>
                  <a:pt x="36386" y="29821"/>
                </a:lnTo>
                <a:lnTo>
                  <a:pt x="96018" y="29821"/>
                </a:lnTo>
                <a:lnTo>
                  <a:pt x="96018" y="3099"/>
                </a:lnTo>
                <a:lnTo>
                  <a:pt x="9253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0853097" y="638470"/>
            <a:ext cx="28495" cy="176360"/>
          </a:xfrm>
          <a:custGeom>
            <a:avLst/>
            <a:gdLst/>
            <a:ahLst/>
            <a:cxnLst/>
            <a:rect l="l" t="t" r="r" b="b"/>
            <a:pathLst>
              <a:path w="46990" h="290830">
                <a:moveTo>
                  <a:pt x="22847" y="0"/>
                </a:moveTo>
                <a:lnTo>
                  <a:pt x="13557" y="1349"/>
                </a:lnTo>
                <a:lnTo>
                  <a:pt x="6338" y="5567"/>
                </a:lnTo>
                <a:lnTo>
                  <a:pt x="1663" y="12907"/>
                </a:lnTo>
                <a:lnTo>
                  <a:pt x="0" y="23622"/>
                </a:lnTo>
                <a:lnTo>
                  <a:pt x="1663" y="33832"/>
                </a:lnTo>
                <a:lnTo>
                  <a:pt x="6338" y="40808"/>
                </a:lnTo>
                <a:lnTo>
                  <a:pt x="13557" y="44806"/>
                </a:lnTo>
                <a:lnTo>
                  <a:pt x="22847" y="46082"/>
                </a:lnTo>
                <a:lnTo>
                  <a:pt x="32640" y="44806"/>
                </a:lnTo>
                <a:lnTo>
                  <a:pt x="40218" y="40808"/>
                </a:lnTo>
                <a:lnTo>
                  <a:pt x="45111" y="33832"/>
                </a:lnTo>
                <a:lnTo>
                  <a:pt x="46846" y="23622"/>
                </a:lnTo>
                <a:lnTo>
                  <a:pt x="45111" y="12907"/>
                </a:lnTo>
                <a:lnTo>
                  <a:pt x="40218" y="5567"/>
                </a:lnTo>
                <a:lnTo>
                  <a:pt x="32640" y="1349"/>
                </a:lnTo>
                <a:lnTo>
                  <a:pt x="22847" y="0"/>
                </a:lnTo>
                <a:close/>
              </a:path>
              <a:path w="46990" h="290830">
                <a:moveTo>
                  <a:pt x="38721" y="73578"/>
                </a:moveTo>
                <a:lnTo>
                  <a:pt x="8910" y="73578"/>
                </a:lnTo>
                <a:lnTo>
                  <a:pt x="4649" y="77830"/>
                </a:lnTo>
                <a:lnTo>
                  <a:pt x="4649" y="286137"/>
                </a:lnTo>
                <a:lnTo>
                  <a:pt x="8910" y="290410"/>
                </a:lnTo>
                <a:lnTo>
                  <a:pt x="38721" y="290410"/>
                </a:lnTo>
                <a:lnTo>
                  <a:pt x="42982" y="286137"/>
                </a:lnTo>
                <a:lnTo>
                  <a:pt x="42982" y="77830"/>
                </a:lnTo>
                <a:lnTo>
                  <a:pt x="38721" y="7357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0918848" y="638473"/>
            <a:ext cx="23489" cy="176360"/>
          </a:xfrm>
          <a:custGeom>
            <a:avLst/>
            <a:gdLst/>
            <a:ahLst/>
            <a:cxnLst/>
            <a:rect l="l" t="t" r="r" b="b"/>
            <a:pathLst>
              <a:path w="38734" h="290830">
                <a:moveTo>
                  <a:pt x="34072" y="0"/>
                </a:moveTo>
                <a:lnTo>
                  <a:pt x="4261" y="0"/>
                </a:lnTo>
                <a:lnTo>
                  <a:pt x="0" y="4261"/>
                </a:lnTo>
                <a:lnTo>
                  <a:pt x="0" y="286137"/>
                </a:lnTo>
                <a:lnTo>
                  <a:pt x="4261" y="290399"/>
                </a:lnTo>
                <a:lnTo>
                  <a:pt x="34072" y="290399"/>
                </a:lnTo>
                <a:lnTo>
                  <a:pt x="38333" y="286137"/>
                </a:lnTo>
                <a:lnTo>
                  <a:pt x="38333" y="4261"/>
                </a:lnTo>
                <a:lnTo>
                  <a:pt x="3407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10977080" y="680736"/>
            <a:ext cx="102427" cy="136313"/>
          </a:xfrm>
          <a:custGeom>
            <a:avLst/>
            <a:gdLst/>
            <a:ahLst/>
            <a:cxnLst/>
            <a:rect l="l" t="t" r="r" b="b"/>
            <a:pathLst>
              <a:path w="168909" h="224790">
                <a:moveTo>
                  <a:pt x="84416" y="0"/>
                </a:moveTo>
                <a:lnTo>
                  <a:pt x="49333" y="5500"/>
                </a:lnTo>
                <a:lnTo>
                  <a:pt x="22747" y="21346"/>
                </a:lnTo>
                <a:lnTo>
                  <a:pt x="5892" y="46555"/>
                </a:lnTo>
                <a:lnTo>
                  <a:pt x="0" y="80144"/>
                </a:lnTo>
                <a:lnTo>
                  <a:pt x="0" y="144424"/>
                </a:lnTo>
                <a:lnTo>
                  <a:pt x="5892" y="178018"/>
                </a:lnTo>
                <a:lnTo>
                  <a:pt x="22747" y="203226"/>
                </a:lnTo>
                <a:lnTo>
                  <a:pt x="49333" y="219070"/>
                </a:lnTo>
                <a:lnTo>
                  <a:pt x="84416" y="224569"/>
                </a:lnTo>
                <a:lnTo>
                  <a:pt x="119651" y="219070"/>
                </a:lnTo>
                <a:lnTo>
                  <a:pt x="146216" y="203226"/>
                </a:lnTo>
                <a:lnTo>
                  <a:pt x="153388" y="192444"/>
                </a:lnTo>
                <a:lnTo>
                  <a:pt x="84416" y="192444"/>
                </a:lnTo>
                <a:lnTo>
                  <a:pt x="64798" y="189060"/>
                </a:lnTo>
                <a:lnTo>
                  <a:pt x="50337" y="179032"/>
                </a:lnTo>
                <a:lnTo>
                  <a:pt x="41395" y="162542"/>
                </a:lnTo>
                <a:lnTo>
                  <a:pt x="38333" y="139775"/>
                </a:lnTo>
                <a:lnTo>
                  <a:pt x="38333" y="84793"/>
                </a:lnTo>
                <a:lnTo>
                  <a:pt x="41395" y="62027"/>
                </a:lnTo>
                <a:lnTo>
                  <a:pt x="50337" y="45541"/>
                </a:lnTo>
                <a:lnTo>
                  <a:pt x="64798" y="35517"/>
                </a:lnTo>
                <a:lnTo>
                  <a:pt x="84416" y="32135"/>
                </a:lnTo>
                <a:lnTo>
                  <a:pt x="153392" y="32135"/>
                </a:lnTo>
                <a:lnTo>
                  <a:pt x="146216" y="21346"/>
                </a:lnTo>
                <a:lnTo>
                  <a:pt x="119651" y="5500"/>
                </a:lnTo>
                <a:lnTo>
                  <a:pt x="84416" y="0"/>
                </a:lnTo>
                <a:close/>
              </a:path>
              <a:path w="168909" h="224790">
                <a:moveTo>
                  <a:pt x="153392" y="32135"/>
                </a:moveTo>
                <a:lnTo>
                  <a:pt x="84416" y="32135"/>
                </a:lnTo>
                <a:lnTo>
                  <a:pt x="104189" y="35517"/>
                </a:lnTo>
                <a:lnTo>
                  <a:pt x="118625" y="45541"/>
                </a:lnTo>
                <a:lnTo>
                  <a:pt x="127472" y="62027"/>
                </a:lnTo>
                <a:lnTo>
                  <a:pt x="130477" y="84793"/>
                </a:lnTo>
                <a:lnTo>
                  <a:pt x="130477" y="139775"/>
                </a:lnTo>
                <a:lnTo>
                  <a:pt x="127472" y="162542"/>
                </a:lnTo>
                <a:lnTo>
                  <a:pt x="118625" y="179032"/>
                </a:lnTo>
                <a:lnTo>
                  <a:pt x="104189" y="189060"/>
                </a:lnTo>
                <a:lnTo>
                  <a:pt x="84416" y="192444"/>
                </a:lnTo>
                <a:lnTo>
                  <a:pt x="153388" y="192444"/>
                </a:lnTo>
                <a:lnTo>
                  <a:pt x="162982" y="178018"/>
                </a:lnTo>
                <a:lnTo>
                  <a:pt x="168822" y="144424"/>
                </a:lnTo>
                <a:lnTo>
                  <a:pt x="168822" y="80144"/>
                </a:lnTo>
                <a:lnTo>
                  <a:pt x="162982" y="46555"/>
                </a:lnTo>
                <a:lnTo>
                  <a:pt x="153392" y="321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11104808" y="665477"/>
            <a:ext cx="100502" cy="186756"/>
          </a:xfrm>
          <a:custGeom>
            <a:avLst/>
            <a:gdLst/>
            <a:ahLst/>
            <a:cxnLst/>
            <a:rect l="l" t="t" r="r" b="b"/>
            <a:pathLst>
              <a:path w="165734" h="307975">
                <a:moveTo>
                  <a:pt x="23213" y="260745"/>
                </a:moveTo>
                <a:lnTo>
                  <a:pt x="17245" y="261552"/>
                </a:lnTo>
                <a:lnTo>
                  <a:pt x="2240" y="281279"/>
                </a:lnTo>
                <a:lnTo>
                  <a:pt x="2806" y="287551"/>
                </a:lnTo>
                <a:lnTo>
                  <a:pt x="6889" y="291142"/>
                </a:lnTo>
                <a:lnTo>
                  <a:pt x="9905" y="293833"/>
                </a:lnTo>
                <a:lnTo>
                  <a:pt x="20173" y="299945"/>
                </a:lnTo>
                <a:lnTo>
                  <a:pt x="32277" y="304314"/>
                </a:lnTo>
                <a:lnTo>
                  <a:pt x="46111" y="306937"/>
                </a:lnTo>
                <a:lnTo>
                  <a:pt x="61568" y="307812"/>
                </a:lnTo>
                <a:lnTo>
                  <a:pt x="93316" y="307812"/>
                </a:lnTo>
                <a:lnTo>
                  <a:pt x="123356" y="304043"/>
                </a:lnTo>
                <a:lnTo>
                  <a:pt x="146025" y="292760"/>
                </a:lnTo>
                <a:lnTo>
                  <a:pt x="157283" y="278012"/>
                </a:lnTo>
                <a:lnTo>
                  <a:pt x="65055" y="278012"/>
                </a:lnTo>
                <a:lnTo>
                  <a:pt x="54091" y="277274"/>
                </a:lnTo>
                <a:lnTo>
                  <a:pt x="45138" y="274879"/>
                </a:lnTo>
                <a:lnTo>
                  <a:pt x="36765" y="270555"/>
                </a:lnTo>
                <a:lnTo>
                  <a:pt x="27538" y="264033"/>
                </a:lnTo>
                <a:lnTo>
                  <a:pt x="23213" y="260745"/>
                </a:lnTo>
                <a:close/>
              </a:path>
              <a:path w="165734" h="307975">
                <a:moveTo>
                  <a:pt x="73568" y="25161"/>
                </a:moveTo>
                <a:lnTo>
                  <a:pt x="43122" y="29905"/>
                </a:lnTo>
                <a:lnTo>
                  <a:pt x="19939" y="42781"/>
                </a:lnTo>
                <a:lnTo>
                  <a:pt x="5178" y="61755"/>
                </a:lnTo>
                <a:lnTo>
                  <a:pt x="0" y="84793"/>
                </a:lnTo>
                <a:lnTo>
                  <a:pt x="0" y="109577"/>
                </a:lnTo>
                <a:lnTo>
                  <a:pt x="1542" y="121271"/>
                </a:lnTo>
                <a:lnTo>
                  <a:pt x="5951" y="132566"/>
                </a:lnTo>
                <a:lnTo>
                  <a:pt x="12903" y="142628"/>
                </a:lnTo>
                <a:lnTo>
                  <a:pt x="22072" y="150623"/>
                </a:lnTo>
                <a:lnTo>
                  <a:pt x="18228" y="156864"/>
                </a:lnTo>
                <a:lnTo>
                  <a:pt x="15438" y="163398"/>
                </a:lnTo>
                <a:lnTo>
                  <a:pt x="13736" y="170222"/>
                </a:lnTo>
                <a:lnTo>
                  <a:pt x="13161" y="177334"/>
                </a:lnTo>
                <a:lnTo>
                  <a:pt x="13161" y="185083"/>
                </a:lnTo>
                <a:lnTo>
                  <a:pt x="38562" y="216429"/>
                </a:lnTo>
                <a:lnTo>
                  <a:pt x="65055" y="220317"/>
                </a:lnTo>
                <a:lnTo>
                  <a:pt x="89442" y="220317"/>
                </a:lnTo>
                <a:lnTo>
                  <a:pt x="106093" y="221908"/>
                </a:lnTo>
                <a:lnTo>
                  <a:pt x="117806" y="226945"/>
                </a:lnTo>
                <a:lnTo>
                  <a:pt x="124727" y="235831"/>
                </a:lnTo>
                <a:lnTo>
                  <a:pt x="127001" y="248966"/>
                </a:lnTo>
                <a:lnTo>
                  <a:pt x="124727" y="262162"/>
                </a:lnTo>
                <a:lnTo>
                  <a:pt x="117806" y="271185"/>
                </a:lnTo>
                <a:lnTo>
                  <a:pt x="106093" y="276360"/>
                </a:lnTo>
                <a:lnTo>
                  <a:pt x="89442" y="278012"/>
                </a:lnTo>
                <a:lnTo>
                  <a:pt x="157283" y="278012"/>
                </a:lnTo>
                <a:lnTo>
                  <a:pt x="160344" y="274001"/>
                </a:lnTo>
                <a:lnTo>
                  <a:pt x="165335" y="247803"/>
                </a:lnTo>
                <a:lnTo>
                  <a:pt x="160555" y="223452"/>
                </a:lnTo>
                <a:lnTo>
                  <a:pt x="146845" y="205743"/>
                </a:lnTo>
                <a:lnTo>
                  <a:pt x="125150" y="194932"/>
                </a:lnTo>
                <a:lnTo>
                  <a:pt x="102580" y="192056"/>
                </a:lnTo>
                <a:lnTo>
                  <a:pt x="53432" y="192056"/>
                </a:lnTo>
                <a:lnTo>
                  <a:pt x="50333" y="188172"/>
                </a:lnTo>
                <a:lnTo>
                  <a:pt x="48019" y="183146"/>
                </a:lnTo>
                <a:lnTo>
                  <a:pt x="48019" y="171534"/>
                </a:lnTo>
                <a:lnTo>
                  <a:pt x="50333" y="166874"/>
                </a:lnTo>
                <a:lnTo>
                  <a:pt x="53820" y="163775"/>
                </a:lnTo>
                <a:lnTo>
                  <a:pt x="90341" y="163775"/>
                </a:lnTo>
                <a:lnTo>
                  <a:pt x="105376" y="161469"/>
                </a:lnTo>
                <a:lnTo>
                  <a:pt x="128157" y="149022"/>
                </a:lnTo>
                <a:lnTo>
                  <a:pt x="137979" y="136686"/>
                </a:lnTo>
                <a:lnTo>
                  <a:pt x="73568" y="136686"/>
                </a:lnTo>
                <a:lnTo>
                  <a:pt x="58630" y="134392"/>
                </a:lnTo>
                <a:lnTo>
                  <a:pt x="47286" y="127922"/>
                </a:lnTo>
                <a:lnTo>
                  <a:pt x="40081" y="117895"/>
                </a:lnTo>
                <a:lnTo>
                  <a:pt x="37559" y="104928"/>
                </a:lnTo>
                <a:lnTo>
                  <a:pt x="37559" y="87117"/>
                </a:lnTo>
                <a:lnTo>
                  <a:pt x="40081" y="74213"/>
                </a:lnTo>
                <a:lnTo>
                  <a:pt x="47286" y="64322"/>
                </a:lnTo>
                <a:lnTo>
                  <a:pt x="58630" y="57989"/>
                </a:lnTo>
                <a:lnTo>
                  <a:pt x="73568" y="55757"/>
                </a:lnTo>
                <a:lnTo>
                  <a:pt x="143748" y="55757"/>
                </a:lnTo>
                <a:lnTo>
                  <a:pt x="150352" y="50274"/>
                </a:lnTo>
                <a:lnTo>
                  <a:pt x="157830" y="40654"/>
                </a:lnTo>
                <a:lnTo>
                  <a:pt x="159638" y="36386"/>
                </a:lnTo>
                <a:lnTo>
                  <a:pt x="118101" y="36386"/>
                </a:lnTo>
                <a:lnTo>
                  <a:pt x="109016" y="31858"/>
                </a:lnTo>
                <a:lnTo>
                  <a:pt x="98300" y="28308"/>
                </a:lnTo>
                <a:lnTo>
                  <a:pt x="86351" y="25990"/>
                </a:lnTo>
                <a:lnTo>
                  <a:pt x="73568" y="25161"/>
                </a:lnTo>
                <a:close/>
              </a:path>
              <a:path w="165734" h="307975">
                <a:moveTo>
                  <a:pt x="96415" y="191271"/>
                </a:moveTo>
                <a:lnTo>
                  <a:pt x="61956" y="191271"/>
                </a:lnTo>
                <a:lnTo>
                  <a:pt x="57307" y="191659"/>
                </a:lnTo>
                <a:lnTo>
                  <a:pt x="53432" y="192056"/>
                </a:lnTo>
                <a:lnTo>
                  <a:pt x="102580" y="192056"/>
                </a:lnTo>
                <a:lnTo>
                  <a:pt x="96415" y="191271"/>
                </a:lnTo>
                <a:close/>
              </a:path>
              <a:path w="165734" h="307975">
                <a:moveTo>
                  <a:pt x="90341" y="163775"/>
                </a:moveTo>
                <a:lnTo>
                  <a:pt x="53820" y="163775"/>
                </a:lnTo>
                <a:lnTo>
                  <a:pt x="60019" y="165335"/>
                </a:lnTo>
                <a:lnTo>
                  <a:pt x="67757" y="166110"/>
                </a:lnTo>
                <a:lnTo>
                  <a:pt x="75118" y="166110"/>
                </a:lnTo>
                <a:lnTo>
                  <a:pt x="90341" y="163775"/>
                </a:lnTo>
                <a:close/>
              </a:path>
              <a:path w="165734" h="307975">
                <a:moveTo>
                  <a:pt x="143748" y="55757"/>
                </a:moveTo>
                <a:lnTo>
                  <a:pt x="73568" y="55757"/>
                </a:lnTo>
                <a:lnTo>
                  <a:pt x="88730" y="57989"/>
                </a:lnTo>
                <a:lnTo>
                  <a:pt x="100189" y="64322"/>
                </a:lnTo>
                <a:lnTo>
                  <a:pt x="107436" y="74213"/>
                </a:lnTo>
                <a:lnTo>
                  <a:pt x="109965" y="87117"/>
                </a:lnTo>
                <a:lnTo>
                  <a:pt x="109965" y="104928"/>
                </a:lnTo>
                <a:lnTo>
                  <a:pt x="107436" y="117895"/>
                </a:lnTo>
                <a:lnTo>
                  <a:pt x="100189" y="127922"/>
                </a:lnTo>
                <a:lnTo>
                  <a:pt x="88730" y="134392"/>
                </a:lnTo>
                <a:lnTo>
                  <a:pt x="73568" y="136686"/>
                </a:lnTo>
                <a:lnTo>
                  <a:pt x="137979" y="136686"/>
                </a:lnTo>
                <a:lnTo>
                  <a:pt x="142517" y="130987"/>
                </a:lnTo>
                <a:lnTo>
                  <a:pt x="147513" y="109577"/>
                </a:lnTo>
                <a:lnTo>
                  <a:pt x="147513" y="84793"/>
                </a:lnTo>
                <a:lnTo>
                  <a:pt x="147085" y="78116"/>
                </a:lnTo>
                <a:lnTo>
                  <a:pt x="145825" y="71147"/>
                </a:lnTo>
                <a:lnTo>
                  <a:pt x="143767" y="64322"/>
                </a:lnTo>
                <a:lnTo>
                  <a:pt x="140948" y="58082"/>
                </a:lnTo>
                <a:lnTo>
                  <a:pt x="143748" y="55757"/>
                </a:lnTo>
                <a:close/>
              </a:path>
              <a:path w="165734" h="307975">
                <a:moveTo>
                  <a:pt x="160298" y="0"/>
                </a:moveTo>
                <a:lnTo>
                  <a:pt x="132812" y="0"/>
                </a:lnTo>
                <a:lnTo>
                  <a:pt x="129713" y="2711"/>
                </a:lnTo>
                <a:lnTo>
                  <a:pt x="129713" y="10062"/>
                </a:lnTo>
                <a:lnTo>
                  <a:pt x="128987" y="18422"/>
                </a:lnTo>
                <a:lnTo>
                  <a:pt x="126808" y="25548"/>
                </a:lnTo>
                <a:lnTo>
                  <a:pt x="123179" y="31513"/>
                </a:lnTo>
                <a:lnTo>
                  <a:pt x="118101" y="36386"/>
                </a:lnTo>
                <a:lnTo>
                  <a:pt x="159638" y="36386"/>
                </a:lnTo>
                <a:lnTo>
                  <a:pt x="162767" y="29002"/>
                </a:lnTo>
                <a:lnTo>
                  <a:pt x="164549" y="15099"/>
                </a:lnTo>
                <a:lnTo>
                  <a:pt x="164549" y="13161"/>
                </a:lnTo>
                <a:lnTo>
                  <a:pt x="164173" y="8900"/>
                </a:lnTo>
                <a:lnTo>
                  <a:pt x="163785" y="7737"/>
                </a:lnTo>
                <a:lnTo>
                  <a:pt x="163398" y="3099"/>
                </a:lnTo>
                <a:lnTo>
                  <a:pt x="1602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1228551" y="638470"/>
            <a:ext cx="28495" cy="176360"/>
          </a:xfrm>
          <a:custGeom>
            <a:avLst/>
            <a:gdLst/>
            <a:ahLst/>
            <a:cxnLst/>
            <a:rect l="l" t="t" r="r" b="b"/>
            <a:pathLst>
              <a:path w="46990" h="290830">
                <a:moveTo>
                  <a:pt x="22847" y="0"/>
                </a:moveTo>
                <a:lnTo>
                  <a:pt x="13557" y="1349"/>
                </a:lnTo>
                <a:lnTo>
                  <a:pt x="6338" y="5567"/>
                </a:lnTo>
                <a:lnTo>
                  <a:pt x="1663" y="12907"/>
                </a:lnTo>
                <a:lnTo>
                  <a:pt x="0" y="23622"/>
                </a:lnTo>
                <a:lnTo>
                  <a:pt x="1663" y="33832"/>
                </a:lnTo>
                <a:lnTo>
                  <a:pt x="6338" y="40808"/>
                </a:lnTo>
                <a:lnTo>
                  <a:pt x="13557" y="44806"/>
                </a:lnTo>
                <a:lnTo>
                  <a:pt x="22847" y="46082"/>
                </a:lnTo>
                <a:lnTo>
                  <a:pt x="32640" y="44806"/>
                </a:lnTo>
                <a:lnTo>
                  <a:pt x="40218" y="40808"/>
                </a:lnTo>
                <a:lnTo>
                  <a:pt x="45111" y="33832"/>
                </a:lnTo>
                <a:lnTo>
                  <a:pt x="46846" y="23622"/>
                </a:lnTo>
                <a:lnTo>
                  <a:pt x="45111" y="12907"/>
                </a:lnTo>
                <a:lnTo>
                  <a:pt x="40218" y="5567"/>
                </a:lnTo>
                <a:lnTo>
                  <a:pt x="32640" y="1349"/>
                </a:lnTo>
                <a:lnTo>
                  <a:pt x="22847" y="0"/>
                </a:lnTo>
                <a:close/>
              </a:path>
              <a:path w="46990" h="290830">
                <a:moveTo>
                  <a:pt x="38721" y="73578"/>
                </a:moveTo>
                <a:lnTo>
                  <a:pt x="8910" y="73578"/>
                </a:lnTo>
                <a:lnTo>
                  <a:pt x="4649" y="77830"/>
                </a:lnTo>
                <a:lnTo>
                  <a:pt x="4649" y="286137"/>
                </a:lnTo>
                <a:lnTo>
                  <a:pt x="8910" y="290410"/>
                </a:lnTo>
                <a:lnTo>
                  <a:pt x="38721" y="290410"/>
                </a:lnTo>
                <a:lnTo>
                  <a:pt x="42982" y="286137"/>
                </a:lnTo>
                <a:lnTo>
                  <a:pt x="42982" y="77830"/>
                </a:lnTo>
                <a:lnTo>
                  <a:pt x="38721" y="7357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1291478" y="680736"/>
            <a:ext cx="102042" cy="136313"/>
          </a:xfrm>
          <a:custGeom>
            <a:avLst/>
            <a:gdLst/>
            <a:ahLst/>
            <a:cxnLst/>
            <a:rect l="l" t="t" r="r" b="b"/>
            <a:pathLst>
              <a:path w="168275" h="224790">
                <a:moveTo>
                  <a:pt x="84416" y="0"/>
                </a:moveTo>
                <a:lnTo>
                  <a:pt x="49337" y="5500"/>
                </a:lnTo>
                <a:lnTo>
                  <a:pt x="22751" y="21346"/>
                </a:lnTo>
                <a:lnTo>
                  <a:pt x="5893" y="46555"/>
                </a:lnTo>
                <a:lnTo>
                  <a:pt x="0" y="80144"/>
                </a:lnTo>
                <a:lnTo>
                  <a:pt x="0" y="144424"/>
                </a:lnTo>
                <a:lnTo>
                  <a:pt x="5893" y="178018"/>
                </a:lnTo>
                <a:lnTo>
                  <a:pt x="22751" y="203226"/>
                </a:lnTo>
                <a:lnTo>
                  <a:pt x="49337" y="219070"/>
                </a:lnTo>
                <a:lnTo>
                  <a:pt x="84416" y="224569"/>
                </a:lnTo>
                <a:lnTo>
                  <a:pt x="120046" y="219070"/>
                </a:lnTo>
                <a:lnTo>
                  <a:pt x="146269" y="204194"/>
                </a:lnTo>
                <a:lnTo>
                  <a:pt x="155248" y="192056"/>
                </a:lnTo>
                <a:lnTo>
                  <a:pt x="84416" y="192056"/>
                </a:lnTo>
                <a:lnTo>
                  <a:pt x="64798" y="188733"/>
                </a:lnTo>
                <a:lnTo>
                  <a:pt x="50337" y="178838"/>
                </a:lnTo>
                <a:lnTo>
                  <a:pt x="41395" y="162482"/>
                </a:lnTo>
                <a:lnTo>
                  <a:pt x="38333" y="139775"/>
                </a:lnTo>
                <a:lnTo>
                  <a:pt x="38333" y="84793"/>
                </a:lnTo>
                <a:lnTo>
                  <a:pt x="41395" y="62088"/>
                </a:lnTo>
                <a:lnTo>
                  <a:pt x="50337" y="45735"/>
                </a:lnTo>
                <a:lnTo>
                  <a:pt x="64798" y="35843"/>
                </a:lnTo>
                <a:lnTo>
                  <a:pt x="84416" y="32522"/>
                </a:lnTo>
                <a:lnTo>
                  <a:pt x="155833" y="32522"/>
                </a:lnTo>
                <a:lnTo>
                  <a:pt x="146269" y="19648"/>
                </a:lnTo>
                <a:lnTo>
                  <a:pt x="120025" y="5214"/>
                </a:lnTo>
                <a:lnTo>
                  <a:pt x="84416" y="0"/>
                </a:lnTo>
                <a:close/>
              </a:path>
              <a:path w="168275" h="224790">
                <a:moveTo>
                  <a:pt x="163796" y="146362"/>
                </a:moveTo>
                <a:lnTo>
                  <a:pt x="133200" y="146362"/>
                </a:lnTo>
                <a:lnTo>
                  <a:pt x="129723" y="149838"/>
                </a:lnTo>
                <a:lnTo>
                  <a:pt x="129723" y="155649"/>
                </a:lnTo>
                <a:lnTo>
                  <a:pt x="127054" y="169673"/>
                </a:lnTo>
                <a:lnTo>
                  <a:pt x="118830" y="181262"/>
                </a:lnTo>
                <a:lnTo>
                  <a:pt x="104725" y="189146"/>
                </a:lnTo>
                <a:lnTo>
                  <a:pt x="84416" y="192056"/>
                </a:lnTo>
                <a:lnTo>
                  <a:pt x="155248" y="192056"/>
                </a:lnTo>
                <a:lnTo>
                  <a:pt x="162493" y="182263"/>
                </a:lnTo>
                <a:lnTo>
                  <a:pt x="168047" y="155649"/>
                </a:lnTo>
                <a:lnTo>
                  <a:pt x="168047" y="150225"/>
                </a:lnTo>
                <a:lnTo>
                  <a:pt x="163796" y="146362"/>
                </a:lnTo>
                <a:close/>
              </a:path>
              <a:path w="168275" h="224790">
                <a:moveTo>
                  <a:pt x="155833" y="32522"/>
                </a:moveTo>
                <a:lnTo>
                  <a:pt x="84416" y="32522"/>
                </a:lnTo>
                <a:lnTo>
                  <a:pt x="104235" y="35331"/>
                </a:lnTo>
                <a:lnTo>
                  <a:pt x="118394" y="43077"/>
                </a:lnTo>
                <a:lnTo>
                  <a:pt x="126891" y="54742"/>
                </a:lnTo>
                <a:lnTo>
                  <a:pt x="129648" y="68919"/>
                </a:lnTo>
                <a:lnTo>
                  <a:pt x="129723" y="74720"/>
                </a:lnTo>
                <a:lnTo>
                  <a:pt x="133200" y="78604"/>
                </a:lnTo>
                <a:lnTo>
                  <a:pt x="164173" y="78604"/>
                </a:lnTo>
                <a:lnTo>
                  <a:pt x="168047" y="74720"/>
                </a:lnTo>
                <a:lnTo>
                  <a:pt x="168047" y="68919"/>
                </a:lnTo>
                <a:lnTo>
                  <a:pt x="162493" y="41488"/>
                </a:lnTo>
                <a:lnTo>
                  <a:pt x="155833" y="325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9802109" y="511520"/>
            <a:ext cx="432785" cy="42973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428" y="4090954"/>
            <a:ext cx="12191144" cy="2766689"/>
          </a:xfrm>
          <a:custGeom>
            <a:avLst/>
            <a:gdLst/>
            <a:ahLst/>
            <a:cxnLst/>
            <a:rect l="l" t="t" r="r" b="b"/>
            <a:pathLst>
              <a:path w="20104100" h="4562475">
                <a:moveTo>
                  <a:pt x="0" y="346377"/>
                </a:moveTo>
                <a:lnTo>
                  <a:pt x="0" y="4562270"/>
                </a:lnTo>
                <a:lnTo>
                  <a:pt x="20104099" y="4562270"/>
                </a:lnTo>
                <a:lnTo>
                  <a:pt x="20104099" y="3760149"/>
                </a:lnTo>
                <a:lnTo>
                  <a:pt x="17660548" y="3760149"/>
                </a:lnTo>
                <a:lnTo>
                  <a:pt x="17614473" y="3756388"/>
                </a:lnTo>
                <a:lnTo>
                  <a:pt x="17568906" y="3747525"/>
                </a:lnTo>
                <a:lnTo>
                  <a:pt x="17524283" y="3733548"/>
                </a:lnTo>
                <a:lnTo>
                  <a:pt x="17481038" y="3714442"/>
                </a:lnTo>
                <a:lnTo>
                  <a:pt x="17164724" y="3552772"/>
                </a:lnTo>
                <a:lnTo>
                  <a:pt x="15837958" y="3552772"/>
                </a:lnTo>
                <a:lnTo>
                  <a:pt x="15791916" y="3551265"/>
                </a:lnTo>
                <a:lnTo>
                  <a:pt x="15746444" y="3544745"/>
                </a:lnTo>
                <a:lnTo>
                  <a:pt x="15701959" y="3533291"/>
                </a:lnTo>
                <a:lnTo>
                  <a:pt x="15658876" y="3516988"/>
                </a:lnTo>
                <a:lnTo>
                  <a:pt x="15617612" y="3495915"/>
                </a:lnTo>
                <a:lnTo>
                  <a:pt x="15578583" y="3470157"/>
                </a:lnTo>
                <a:lnTo>
                  <a:pt x="11544574" y="1825082"/>
                </a:lnTo>
                <a:lnTo>
                  <a:pt x="2646350" y="1825082"/>
                </a:lnTo>
                <a:lnTo>
                  <a:pt x="2600850" y="1821699"/>
                </a:lnTo>
                <a:lnTo>
                  <a:pt x="2555984" y="1813399"/>
                </a:lnTo>
                <a:lnTo>
                  <a:pt x="2512178" y="1800236"/>
                </a:lnTo>
                <a:lnTo>
                  <a:pt x="2469857" y="1782266"/>
                </a:lnTo>
                <a:lnTo>
                  <a:pt x="2429446" y="1759543"/>
                </a:lnTo>
                <a:lnTo>
                  <a:pt x="2391370" y="1732120"/>
                </a:lnTo>
                <a:lnTo>
                  <a:pt x="2356053" y="1700053"/>
                </a:lnTo>
                <a:lnTo>
                  <a:pt x="1479536" y="809505"/>
                </a:lnTo>
                <a:lnTo>
                  <a:pt x="1457127" y="789245"/>
                </a:lnTo>
                <a:lnTo>
                  <a:pt x="759806" y="789245"/>
                </a:lnTo>
                <a:lnTo>
                  <a:pt x="712848" y="787615"/>
                </a:lnTo>
                <a:lnTo>
                  <a:pt x="666438" y="780750"/>
                </a:lnTo>
                <a:lnTo>
                  <a:pt x="621024" y="768719"/>
                </a:lnTo>
                <a:lnTo>
                  <a:pt x="577058" y="751586"/>
                </a:lnTo>
                <a:lnTo>
                  <a:pt x="534990" y="729418"/>
                </a:lnTo>
                <a:lnTo>
                  <a:pt x="495272" y="702283"/>
                </a:lnTo>
                <a:lnTo>
                  <a:pt x="116645" y="410564"/>
                </a:lnTo>
                <a:lnTo>
                  <a:pt x="98097" y="397017"/>
                </a:lnTo>
                <a:lnTo>
                  <a:pt x="60058" y="373458"/>
                </a:lnTo>
                <a:lnTo>
                  <a:pt x="20392" y="354322"/>
                </a:lnTo>
                <a:lnTo>
                  <a:pt x="10205" y="350207"/>
                </a:lnTo>
                <a:lnTo>
                  <a:pt x="0" y="346377"/>
                </a:lnTo>
                <a:close/>
              </a:path>
              <a:path w="20104100" h="4562475">
                <a:moveTo>
                  <a:pt x="19149784" y="3032631"/>
                </a:moveTo>
                <a:lnTo>
                  <a:pt x="19104286" y="3034190"/>
                </a:lnTo>
                <a:lnTo>
                  <a:pt x="19059108" y="3040695"/>
                </a:lnTo>
                <a:lnTo>
                  <a:pt x="19014668" y="3052153"/>
                </a:lnTo>
                <a:lnTo>
                  <a:pt x="18971388" y="3068572"/>
                </a:lnTo>
                <a:lnTo>
                  <a:pt x="18929685" y="3089959"/>
                </a:lnTo>
                <a:lnTo>
                  <a:pt x="17883329" y="3702924"/>
                </a:lnTo>
                <a:lnTo>
                  <a:pt x="17841236" y="3724461"/>
                </a:lnTo>
                <a:lnTo>
                  <a:pt x="17797476" y="3740966"/>
                </a:lnTo>
                <a:lnTo>
                  <a:pt x="17752484" y="3752424"/>
                </a:lnTo>
                <a:lnTo>
                  <a:pt x="17706697" y="3758824"/>
                </a:lnTo>
                <a:lnTo>
                  <a:pt x="17660548" y="3760149"/>
                </a:lnTo>
                <a:lnTo>
                  <a:pt x="20104099" y="3760149"/>
                </a:lnTo>
                <a:lnTo>
                  <a:pt x="20104099" y="3570991"/>
                </a:lnTo>
                <a:lnTo>
                  <a:pt x="19367378" y="3098754"/>
                </a:lnTo>
                <a:lnTo>
                  <a:pt x="19326578" y="3075699"/>
                </a:lnTo>
                <a:lnTo>
                  <a:pt x="19283998" y="3057551"/>
                </a:lnTo>
                <a:lnTo>
                  <a:pt x="19240060" y="3044319"/>
                </a:lnTo>
                <a:lnTo>
                  <a:pt x="19195182" y="3036009"/>
                </a:lnTo>
                <a:lnTo>
                  <a:pt x="19149784" y="3032631"/>
                </a:lnTo>
                <a:close/>
              </a:path>
              <a:path w="20104100" h="4562475">
                <a:moveTo>
                  <a:pt x="16689954" y="3362752"/>
                </a:moveTo>
                <a:lnTo>
                  <a:pt x="16640076" y="3366014"/>
                </a:lnTo>
                <a:lnTo>
                  <a:pt x="16590594" y="3375290"/>
                </a:lnTo>
                <a:lnTo>
                  <a:pt x="15930090" y="3540416"/>
                </a:lnTo>
                <a:lnTo>
                  <a:pt x="15884155" y="3549183"/>
                </a:lnTo>
                <a:lnTo>
                  <a:pt x="15837958" y="3552772"/>
                </a:lnTo>
                <a:lnTo>
                  <a:pt x="17164724" y="3552772"/>
                </a:lnTo>
                <a:lnTo>
                  <a:pt x="16882826" y="3408692"/>
                </a:lnTo>
                <a:lnTo>
                  <a:pt x="16836663" y="3388476"/>
                </a:lnTo>
                <a:lnTo>
                  <a:pt x="16788777" y="3374042"/>
                </a:lnTo>
                <a:lnTo>
                  <a:pt x="16739698" y="3365448"/>
                </a:lnTo>
                <a:lnTo>
                  <a:pt x="16689954" y="3362752"/>
                </a:lnTo>
                <a:close/>
              </a:path>
              <a:path w="20104100" h="4562475">
                <a:moveTo>
                  <a:pt x="6924101" y="0"/>
                </a:moveTo>
                <a:lnTo>
                  <a:pt x="6877231" y="417"/>
                </a:lnTo>
                <a:lnTo>
                  <a:pt x="6830421" y="3195"/>
                </a:lnTo>
                <a:lnTo>
                  <a:pt x="6783646" y="8363"/>
                </a:lnTo>
                <a:lnTo>
                  <a:pt x="6736883" y="15950"/>
                </a:lnTo>
                <a:lnTo>
                  <a:pt x="6690109" y="25985"/>
                </a:lnTo>
                <a:lnTo>
                  <a:pt x="6643298" y="38498"/>
                </a:lnTo>
                <a:lnTo>
                  <a:pt x="6596429" y="53519"/>
                </a:lnTo>
                <a:lnTo>
                  <a:pt x="6549477" y="71077"/>
                </a:lnTo>
                <a:lnTo>
                  <a:pt x="6502419" y="91202"/>
                </a:lnTo>
                <a:lnTo>
                  <a:pt x="2868499" y="1766334"/>
                </a:lnTo>
                <a:lnTo>
                  <a:pt x="2826199" y="1788354"/>
                </a:lnTo>
                <a:lnTo>
                  <a:pt x="2782410" y="1805184"/>
                </a:lnTo>
                <a:lnTo>
                  <a:pt x="2737555" y="1816879"/>
                </a:lnTo>
                <a:lnTo>
                  <a:pt x="2692060" y="1823493"/>
                </a:lnTo>
                <a:lnTo>
                  <a:pt x="2646350" y="1825082"/>
                </a:lnTo>
                <a:lnTo>
                  <a:pt x="11544574" y="1825082"/>
                </a:lnTo>
                <a:lnTo>
                  <a:pt x="7549508" y="195911"/>
                </a:lnTo>
                <a:lnTo>
                  <a:pt x="7499724" y="168332"/>
                </a:lnTo>
                <a:lnTo>
                  <a:pt x="7450306" y="142730"/>
                </a:lnTo>
                <a:lnTo>
                  <a:pt x="7401230" y="119134"/>
                </a:lnTo>
                <a:lnTo>
                  <a:pt x="7352473" y="97574"/>
                </a:lnTo>
                <a:lnTo>
                  <a:pt x="7304010" y="78079"/>
                </a:lnTo>
                <a:lnTo>
                  <a:pt x="7255820" y="60678"/>
                </a:lnTo>
                <a:lnTo>
                  <a:pt x="7207877" y="45402"/>
                </a:lnTo>
                <a:lnTo>
                  <a:pt x="7160158" y="32279"/>
                </a:lnTo>
                <a:lnTo>
                  <a:pt x="7112639" y="21339"/>
                </a:lnTo>
                <a:lnTo>
                  <a:pt x="7065298" y="12611"/>
                </a:lnTo>
                <a:lnTo>
                  <a:pt x="7018110" y="6126"/>
                </a:lnTo>
                <a:lnTo>
                  <a:pt x="6971052" y="1912"/>
                </a:lnTo>
                <a:lnTo>
                  <a:pt x="6924101" y="0"/>
                </a:lnTo>
                <a:close/>
              </a:path>
              <a:path w="20104100" h="4562475">
                <a:moveTo>
                  <a:pt x="1175513" y="684415"/>
                </a:moveTo>
                <a:lnTo>
                  <a:pt x="1127432" y="687818"/>
                </a:lnTo>
                <a:lnTo>
                  <a:pt x="1079614" y="696846"/>
                </a:lnTo>
                <a:lnTo>
                  <a:pt x="1032534" y="711602"/>
                </a:lnTo>
                <a:lnTo>
                  <a:pt x="899449" y="762071"/>
                </a:lnTo>
                <a:lnTo>
                  <a:pt x="853556" y="776540"/>
                </a:lnTo>
                <a:lnTo>
                  <a:pt x="806859" y="785576"/>
                </a:lnTo>
                <a:lnTo>
                  <a:pt x="759806" y="789245"/>
                </a:lnTo>
                <a:lnTo>
                  <a:pt x="1457127" y="789245"/>
                </a:lnTo>
                <a:lnTo>
                  <a:pt x="1403233" y="748198"/>
                </a:lnTo>
                <a:lnTo>
                  <a:pt x="1360964" y="725010"/>
                </a:lnTo>
                <a:lnTo>
                  <a:pt x="1316582" y="706935"/>
                </a:lnTo>
                <a:lnTo>
                  <a:pt x="1270563" y="694076"/>
                </a:lnTo>
                <a:lnTo>
                  <a:pt x="1223382" y="686535"/>
                </a:lnTo>
                <a:lnTo>
                  <a:pt x="1175513" y="68441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3702218" y="3035087"/>
            <a:ext cx="1981061" cy="1784224"/>
          </a:xfrm>
          <a:prstGeom prst="rect">
            <a:avLst/>
          </a:prstGeom>
          <a:blipFill dpi="0" rotWithShape="1">
            <a:blip r:embed="rId7" cstate="print">
              <a:alphaModFix amt="40000"/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763616" y="3094258"/>
            <a:ext cx="1860225" cy="166344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517971" y="1638185"/>
            <a:ext cx="2228693" cy="3206525"/>
          </a:xfrm>
          <a:prstGeom prst="rect">
            <a:avLst/>
          </a:prstGeom>
          <a:blipFill dpi="0" rotWithShape="1">
            <a:blip r:embed="rId9" cstate="print">
              <a:alphaModFix amt="40000"/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1575117" y="1698501"/>
            <a:ext cx="2108255" cy="308588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7155024" y="5320267"/>
            <a:ext cx="4125197" cy="10348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 algn="just" defTabSz="554492" fontAlgn="auto">
              <a:lnSpc>
                <a:spcPct val="1124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001" spc="-9" dirty="0">
                <a:solidFill>
                  <a:srgbClr val="4E4E4E"/>
                </a:solidFill>
                <a:latin typeface="Roboto Light"/>
                <a:cs typeface="Roboto Light"/>
              </a:rPr>
              <a:t>Печатайте назначения в формате профессионально подготовленного и стильно оформленного документа, содержащего всю необходимую Пациенту информацию, включая подробный рацион питания на установленный период и рецепты, включенных в него блюд.</a:t>
            </a:r>
          </a:p>
          <a:p>
            <a:pPr marL="7701" marR="3081" algn="just" defTabSz="554492" fontAlgn="auto">
              <a:lnSpc>
                <a:spcPct val="112400"/>
              </a:lnSpc>
              <a:spcBef>
                <a:spcPts val="0"/>
              </a:spcBef>
              <a:spcAft>
                <a:spcPts val="0"/>
              </a:spcAft>
            </a:pPr>
            <a:endParaRPr lang="ru-RU" sz="1001" spc="-9" dirty="0">
              <a:solidFill>
                <a:srgbClr val="4E4E4E"/>
              </a:solidFill>
              <a:latin typeface="Roboto Light"/>
              <a:cs typeface="Roboto Light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656309" y="5320267"/>
            <a:ext cx="4012373" cy="12073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 algn="just" defTabSz="554492" fontAlgn="auto">
              <a:lnSpc>
                <a:spcPct val="1124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001" spc="-3" dirty="0">
                <a:solidFill>
                  <a:srgbClr val="4E4E4E"/>
                </a:solidFill>
                <a:latin typeface="Roboto Light"/>
                <a:cs typeface="Roboto Light"/>
              </a:rPr>
              <a:t>Механизмы автоматизации составления рационов значительно ускоряют рутинные операции, подсказывают решения и защищают от ошибок.</a:t>
            </a:r>
          </a:p>
          <a:p>
            <a:pPr marL="7701" marR="3081" algn="just" defTabSz="554492" fontAlgn="auto">
              <a:lnSpc>
                <a:spcPct val="1124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001" spc="-3" dirty="0">
                <a:solidFill>
                  <a:srgbClr val="4E4E4E"/>
                </a:solidFill>
                <a:latin typeface="Roboto Light"/>
                <a:cs typeface="Roboto Light"/>
              </a:rPr>
              <a:t>Высвободившееся время используйте для тонкой и гибкой коррекции. Отпустите пациента раньше, без потери качества.</a:t>
            </a:r>
          </a:p>
          <a:p>
            <a:pPr marL="7701" marR="3081" algn="just" defTabSz="554492" fontAlgn="auto">
              <a:lnSpc>
                <a:spcPct val="112400"/>
              </a:lnSpc>
              <a:spcBef>
                <a:spcPts val="0"/>
              </a:spcBef>
              <a:spcAft>
                <a:spcPts val="0"/>
              </a:spcAft>
            </a:pPr>
            <a:endParaRPr lang="ru-RU" sz="1001" spc="-3" dirty="0">
              <a:solidFill>
                <a:srgbClr val="4E4E4E"/>
              </a:solidFill>
              <a:latin typeface="Roboto Light"/>
              <a:cs typeface="Roboto Light"/>
            </a:endParaRPr>
          </a:p>
          <a:p>
            <a:pPr marL="7701" marR="3081" algn="just" defTabSz="554492" fontAlgn="auto">
              <a:lnSpc>
                <a:spcPct val="112400"/>
              </a:lnSpc>
              <a:spcBef>
                <a:spcPts val="0"/>
              </a:spcBef>
              <a:spcAft>
                <a:spcPts val="0"/>
              </a:spcAft>
            </a:pPr>
            <a:endParaRPr lang="ru-RU" sz="1001" spc="-3" dirty="0">
              <a:solidFill>
                <a:srgbClr val="4E4E4E"/>
              </a:solidFill>
              <a:latin typeface="Roboto Light"/>
              <a:cs typeface="Roboto Light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895717" y="5903393"/>
            <a:ext cx="136313" cy="78168"/>
          </a:xfrm>
          <a:custGeom>
            <a:avLst/>
            <a:gdLst/>
            <a:ahLst/>
            <a:cxnLst/>
            <a:rect l="l" t="t" r="r" b="b"/>
            <a:pathLst>
              <a:path w="224789" h="128904">
                <a:moveTo>
                  <a:pt x="112384" y="0"/>
                </a:moveTo>
                <a:lnTo>
                  <a:pt x="68686" y="8845"/>
                </a:lnTo>
                <a:lnTo>
                  <a:pt x="32958" y="32954"/>
                </a:lnTo>
                <a:lnTo>
                  <a:pt x="8847" y="68681"/>
                </a:lnTo>
                <a:lnTo>
                  <a:pt x="0" y="112384"/>
                </a:lnTo>
                <a:lnTo>
                  <a:pt x="0" y="121263"/>
                </a:lnTo>
                <a:lnTo>
                  <a:pt x="7172" y="128446"/>
                </a:lnTo>
                <a:lnTo>
                  <a:pt x="217595" y="128446"/>
                </a:lnTo>
                <a:lnTo>
                  <a:pt x="224768" y="121263"/>
                </a:lnTo>
                <a:lnTo>
                  <a:pt x="224768" y="112384"/>
                </a:lnTo>
                <a:lnTo>
                  <a:pt x="221516" y="96321"/>
                </a:lnTo>
                <a:lnTo>
                  <a:pt x="33726" y="96321"/>
                </a:lnTo>
                <a:lnTo>
                  <a:pt x="41793" y="74226"/>
                </a:lnTo>
                <a:lnTo>
                  <a:pt x="55656" y="55732"/>
                </a:lnTo>
                <a:lnTo>
                  <a:pt x="74206" y="41921"/>
                </a:lnTo>
                <a:lnTo>
                  <a:pt x="96332" y="33873"/>
                </a:lnTo>
                <a:lnTo>
                  <a:pt x="192429" y="33873"/>
                </a:lnTo>
                <a:lnTo>
                  <a:pt x="191809" y="32954"/>
                </a:lnTo>
                <a:lnTo>
                  <a:pt x="156081" y="8845"/>
                </a:lnTo>
                <a:lnTo>
                  <a:pt x="112384" y="0"/>
                </a:lnTo>
                <a:close/>
              </a:path>
              <a:path w="224789" h="128904">
                <a:moveTo>
                  <a:pt x="192429" y="33873"/>
                </a:moveTo>
                <a:lnTo>
                  <a:pt x="128435" y="33873"/>
                </a:lnTo>
                <a:lnTo>
                  <a:pt x="150561" y="41930"/>
                </a:lnTo>
                <a:lnTo>
                  <a:pt x="169111" y="55740"/>
                </a:lnTo>
                <a:lnTo>
                  <a:pt x="182974" y="74229"/>
                </a:lnTo>
                <a:lnTo>
                  <a:pt x="191041" y="96321"/>
                </a:lnTo>
                <a:lnTo>
                  <a:pt x="221516" y="96321"/>
                </a:lnTo>
                <a:lnTo>
                  <a:pt x="215920" y="68681"/>
                </a:lnTo>
                <a:lnTo>
                  <a:pt x="192429" y="33873"/>
                </a:lnTo>
                <a:close/>
              </a:path>
              <a:path w="224789" h="128904">
                <a:moveTo>
                  <a:pt x="128435" y="33873"/>
                </a:moveTo>
                <a:lnTo>
                  <a:pt x="96332" y="33873"/>
                </a:lnTo>
                <a:lnTo>
                  <a:pt x="96332" y="64217"/>
                </a:lnTo>
                <a:lnTo>
                  <a:pt x="128435" y="64217"/>
                </a:lnTo>
                <a:lnTo>
                  <a:pt x="128435" y="33873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895713" y="5397118"/>
            <a:ext cx="584528" cy="584528"/>
          </a:xfrm>
          <a:custGeom>
            <a:avLst/>
            <a:gdLst/>
            <a:ahLst/>
            <a:cxnLst/>
            <a:rect l="l" t="t" r="r" b="b"/>
            <a:pathLst>
              <a:path w="963930" h="963929">
                <a:moveTo>
                  <a:pt x="722491" y="916307"/>
                </a:moveTo>
                <a:lnTo>
                  <a:pt x="683706" y="916307"/>
                </a:lnTo>
                <a:lnTo>
                  <a:pt x="685937" y="917312"/>
                </a:lnTo>
                <a:lnTo>
                  <a:pt x="688146" y="918223"/>
                </a:lnTo>
                <a:lnTo>
                  <a:pt x="690376" y="919113"/>
                </a:lnTo>
                <a:lnTo>
                  <a:pt x="690376" y="956148"/>
                </a:lnTo>
                <a:lnTo>
                  <a:pt x="697559" y="963321"/>
                </a:lnTo>
                <a:lnTo>
                  <a:pt x="811650" y="963321"/>
                </a:lnTo>
                <a:lnTo>
                  <a:pt x="818823" y="956148"/>
                </a:lnTo>
                <a:lnTo>
                  <a:pt x="818823" y="931207"/>
                </a:lnTo>
                <a:lnTo>
                  <a:pt x="722491" y="931207"/>
                </a:lnTo>
                <a:lnTo>
                  <a:pt x="722491" y="916307"/>
                </a:lnTo>
                <a:close/>
              </a:path>
              <a:path w="963930" h="963929">
                <a:moveTo>
                  <a:pt x="612766" y="577992"/>
                </a:moveTo>
                <a:lnTo>
                  <a:pt x="573919" y="577992"/>
                </a:lnTo>
                <a:lnTo>
                  <a:pt x="599091" y="614934"/>
                </a:lnTo>
                <a:lnTo>
                  <a:pt x="572952" y="641079"/>
                </a:lnTo>
                <a:lnTo>
                  <a:pt x="569435" y="646389"/>
                </a:lnTo>
                <a:lnTo>
                  <a:pt x="568266" y="652430"/>
                </a:lnTo>
                <a:lnTo>
                  <a:pt x="569451" y="658465"/>
                </a:lnTo>
                <a:lnTo>
                  <a:pt x="572987" y="663780"/>
                </a:lnTo>
                <a:lnTo>
                  <a:pt x="592892" y="683685"/>
                </a:lnTo>
                <a:lnTo>
                  <a:pt x="591893" y="685926"/>
                </a:lnTo>
                <a:lnTo>
                  <a:pt x="590983" y="688146"/>
                </a:lnTo>
                <a:lnTo>
                  <a:pt x="590097" y="690366"/>
                </a:lnTo>
                <a:lnTo>
                  <a:pt x="265625" y="690376"/>
                </a:lnTo>
                <a:lnTo>
                  <a:pt x="200695" y="690376"/>
                </a:lnTo>
                <a:lnTo>
                  <a:pt x="178843" y="694800"/>
                </a:lnTo>
                <a:lnTo>
                  <a:pt x="160978" y="706856"/>
                </a:lnTo>
                <a:lnTo>
                  <a:pt x="148922" y="724722"/>
                </a:lnTo>
                <a:lnTo>
                  <a:pt x="144498" y="746574"/>
                </a:lnTo>
                <a:lnTo>
                  <a:pt x="148922" y="768424"/>
                </a:lnTo>
                <a:lnTo>
                  <a:pt x="160978" y="786286"/>
                </a:lnTo>
                <a:lnTo>
                  <a:pt x="178843" y="798338"/>
                </a:lnTo>
                <a:lnTo>
                  <a:pt x="200695" y="802760"/>
                </a:lnTo>
                <a:lnTo>
                  <a:pt x="545889" y="802760"/>
                </a:lnTo>
                <a:lnTo>
                  <a:pt x="545889" y="811650"/>
                </a:lnTo>
                <a:lnTo>
                  <a:pt x="553061" y="818823"/>
                </a:lnTo>
                <a:lnTo>
                  <a:pt x="590097" y="818823"/>
                </a:lnTo>
                <a:lnTo>
                  <a:pt x="590987" y="821053"/>
                </a:lnTo>
                <a:lnTo>
                  <a:pt x="591898" y="823262"/>
                </a:lnTo>
                <a:lnTo>
                  <a:pt x="592892" y="825503"/>
                </a:lnTo>
                <a:lnTo>
                  <a:pt x="572966" y="845429"/>
                </a:lnTo>
                <a:lnTo>
                  <a:pt x="569438" y="850739"/>
                </a:lnTo>
                <a:lnTo>
                  <a:pt x="568267" y="856801"/>
                </a:lnTo>
                <a:lnTo>
                  <a:pt x="569438" y="862815"/>
                </a:lnTo>
                <a:lnTo>
                  <a:pt x="572966" y="868130"/>
                </a:lnTo>
                <a:lnTo>
                  <a:pt x="641079" y="936233"/>
                </a:lnTo>
                <a:lnTo>
                  <a:pt x="646389" y="939767"/>
                </a:lnTo>
                <a:lnTo>
                  <a:pt x="652426" y="940945"/>
                </a:lnTo>
                <a:lnTo>
                  <a:pt x="658465" y="939767"/>
                </a:lnTo>
                <a:lnTo>
                  <a:pt x="663780" y="936233"/>
                </a:lnTo>
                <a:lnTo>
                  <a:pt x="683706" y="916307"/>
                </a:lnTo>
                <a:lnTo>
                  <a:pt x="722491" y="916307"/>
                </a:lnTo>
                <a:lnTo>
                  <a:pt x="722491" y="902192"/>
                </a:lnTo>
                <a:lnTo>
                  <a:pt x="652430" y="902192"/>
                </a:lnTo>
                <a:lnTo>
                  <a:pt x="607018" y="856801"/>
                </a:lnTo>
                <a:lnTo>
                  <a:pt x="628619" y="835199"/>
                </a:lnTo>
                <a:lnTo>
                  <a:pt x="629786" y="827587"/>
                </a:lnTo>
                <a:lnTo>
                  <a:pt x="622483" y="813608"/>
                </a:lnTo>
                <a:lnTo>
                  <a:pt x="619195" y="805713"/>
                </a:lnTo>
                <a:lnTo>
                  <a:pt x="616752" y="797933"/>
                </a:lnTo>
                <a:lnTo>
                  <a:pt x="614620" y="791263"/>
                </a:lnTo>
                <a:lnTo>
                  <a:pt x="608442" y="786709"/>
                </a:lnTo>
                <a:lnTo>
                  <a:pt x="577992" y="786709"/>
                </a:lnTo>
                <a:lnTo>
                  <a:pt x="577992" y="770657"/>
                </a:lnTo>
                <a:lnTo>
                  <a:pt x="200695" y="770657"/>
                </a:lnTo>
                <a:lnTo>
                  <a:pt x="191331" y="768761"/>
                </a:lnTo>
                <a:lnTo>
                  <a:pt x="183675" y="763594"/>
                </a:lnTo>
                <a:lnTo>
                  <a:pt x="178508" y="755938"/>
                </a:lnTo>
                <a:lnTo>
                  <a:pt x="176612" y="746574"/>
                </a:lnTo>
                <a:lnTo>
                  <a:pt x="178508" y="737209"/>
                </a:lnTo>
                <a:lnTo>
                  <a:pt x="183675" y="729553"/>
                </a:lnTo>
                <a:lnTo>
                  <a:pt x="191331" y="724386"/>
                </a:lnTo>
                <a:lnTo>
                  <a:pt x="200695" y="722491"/>
                </a:lnTo>
                <a:lnTo>
                  <a:pt x="608442" y="722491"/>
                </a:lnTo>
                <a:lnTo>
                  <a:pt x="614620" y="717946"/>
                </a:lnTo>
                <a:lnTo>
                  <a:pt x="619183" y="703496"/>
                </a:lnTo>
                <a:lnTo>
                  <a:pt x="622468" y="695601"/>
                </a:lnTo>
                <a:lnTo>
                  <a:pt x="629769" y="681602"/>
                </a:lnTo>
                <a:lnTo>
                  <a:pt x="628588" y="674010"/>
                </a:lnTo>
                <a:lnTo>
                  <a:pt x="607007" y="652430"/>
                </a:lnTo>
                <a:lnTo>
                  <a:pt x="652409" y="607018"/>
                </a:lnTo>
                <a:lnTo>
                  <a:pt x="722491" y="607018"/>
                </a:lnTo>
                <a:lnTo>
                  <a:pt x="722491" y="592892"/>
                </a:lnTo>
                <a:lnTo>
                  <a:pt x="683706" y="592892"/>
                </a:lnTo>
                <a:lnTo>
                  <a:pt x="682649" y="591835"/>
                </a:lnTo>
                <a:lnTo>
                  <a:pt x="622200" y="591835"/>
                </a:lnTo>
                <a:lnTo>
                  <a:pt x="612766" y="577992"/>
                </a:lnTo>
                <a:close/>
              </a:path>
              <a:path w="963930" h="963929">
                <a:moveTo>
                  <a:pt x="888056" y="916307"/>
                </a:moveTo>
                <a:lnTo>
                  <a:pt x="825503" y="916307"/>
                </a:lnTo>
                <a:lnTo>
                  <a:pt x="845429" y="936233"/>
                </a:lnTo>
                <a:lnTo>
                  <a:pt x="850745" y="939767"/>
                </a:lnTo>
                <a:lnTo>
                  <a:pt x="856784" y="940945"/>
                </a:lnTo>
                <a:lnTo>
                  <a:pt x="862821" y="939767"/>
                </a:lnTo>
                <a:lnTo>
                  <a:pt x="868130" y="936233"/>
                </a:lnTo>
                <a:lnTo>
                  <a:pt x="888056" y="916307"/>
                </a:lnTo>
                <a:close/>
              </a:path>
              <a:path w="963930" h="963929">
                <a:moveTo>
                  <a:pt x="827608" y="879439"/>
                </a:moveTo>
                <a:lnTo>
                  <a:pt x="821338" y="882674"/>
                </a:lnTo>
                <a:lnTo>
                  <a:pt x="813583" y="886737"/>
                </a:lnTo>
                <a:lnTo>
                  <a:pt x="805637" y="890025"/>
                </a:lnTo>
                <a:lnTo>
                  <a:pt x="791263" y="894590"/>
                </a:lnTo>
                <a:lnTo>
                  <a:pt x="786719" y="900768"/>
                </a:lnTo>
                <a:lnTo>
                  <a:pt x="786719" y="931207"/>
                </a:lnTo>
                <a:lnTo>
                  <a:pt x="818823" y="931207"/>
                </a:lnTo>
                <a:lnTo>
                  <a:pt x="818823" y="919113"/>
                </a:lnTo>
                <a:lnTo>
                  <a:pt x="821053" y="918223"/>
                </a:lnTo>
                <a:lnTo>
                  <a:pt x="823273" y="917312"/>
                </a:lnTo>
                <a:lnTo>
                  <a:pt x="825503" y="916307"/>
                </a:lnTo>
                <a:lnTo>
                  <a:pt x="888056" y="916307"/>
                </a:lnTo>
                <a:lnTo>
                  <a:pt x="902171" y="902192"/>
                </a:lnTo>
                <a:lnTo>
                  <a:pt x="856790" y="902192"/>
                </a:lnTo>
                <a:lnTo>
                  <a:pt x="835189" y="880590"/>
                </a:lnTo>
                <a:lnTo>
                  <a:pt x="827608" y="879439"/>
                </a:lnTo>
                <a:close/>
              </a:path>
              <a:path w="963930" h="963929">
                <a:moveTo>
                  <a:pt x="681612" y="879449"/>
                </a:moveTo>
                <a:lnTo>
                  <a:pt x="674021" y="880601"/>
                </a:lnTo>
                <a:lnTo>
                  <a:pt x="652430" y="902192"/>
                </a:lnTo>
                <a:lnTo>
                  <a:pt x="722491" y="902192"/>
                </a:lnTo>
                <a:lnTo>
                  <a:pt x="722491" y="900768"/>
                </a:lnTo>
                <a:lnTo>
                  <a:pt x="717946" y="894590"/>
                </a:lnTo>
                <a:lnTo>
                  <a:pt x="703467" y="890004"/>
                </a:lnTo>
                <a:lnTo>
                  <a:pt x="695592" y="886726"/>
                </a:lnTo>
                <a:lnTo>
                  <a:pt x="687802" y="882653"/>
                </a:lnTo>
                <a:lnTo>
                  <a:pt x="681612" y="879449"/>
                </a:lnTo>
                <a:close/>
              </a:path>
              <a:path w="963930" h="963929">
                <a:moveTo>
                  <a:pt x="902166" y="607007"/>
                </a:moveTo>
                <a:lnTo>
                  <a:pt x="856780" y="607007"/>
                </a:lnTo>
                <a:lnTo>
                  <a:pt x="902181" y="652409"/>
                </a:lnTo>
                <a:lnTo>
                  <a:pt x="880589" y="674021"/>
                </a:lnTo>
                <a:lnTo>
                  <a:pt x="879423" y="681612"/>
                </a:lnTo>
                <a:lnTo>
                  <a:pt x="886731" y="695612"/>
                </a:lnTo>
                <a:lnTo>
                  <a:pt x="890021" y="703517"/>
                </a:lnTo>
                <a:lnTo>
                  <a:pt x="892454" y="711255"/>
                </a:lnTo>
                <a:lnTo>
                  <a:pt x="894590" y="717946"/>
                </a:lnTo>
                <a:lnTo>
                  <a:pt x="900778" y="722491"/>
                </a:lnTo>
                <a:lnTo>
                  <a:pt x="931207" y="722491"/>
                </a:lnTo>
                <a:lnTo>
                  <a:pt x="931207" y="786709"/>
                </a:lnTo>
                <a:lnTo>
                  <a:pt x="900778" y="786709"/>
                </a:lnTo>
                <a:lnTo>
                  <a:pt x="894590" y="791263"/>
                </a:lnTo>
                <a:lnTo>
                  <a:pt x="892471" y="797944"/>
                </a:lnTo>
                <a:lnTo>
                  <a:pt x="890486" y="803776"/>
                </a:lnTo>
                <a:lnTo>
                  <a:pt x="888183" y="809646"/>
                </a:lnTo>
                <a:lnTo>
                  <a:pt x="885576" y="815519"/>
                </a:lnTo>
                <a:lnTo>
                  <a:pt x="882674" y="821367"/>
                </a:lnTo>
                <a:lnTo>
                  <a:pt x="879430" y="827597"/>
                </a:lnTo>
                <a:lnTo>
                  <a:pt x="880601" y="835178"/>
                </a:lnTo>
                <a:lnTo>
                  <a:pt x="902198" y="856776"/>
                </a:lnTo>
                <a:lnTo>
                  <a:pt x="856790" y="902192"/>
                </a:lnTo>
                <a:lnTo>
                  <a:pt x="902171" y="902192"/>
                </a:lnTo>
                <a:lnTo>
                  <a:pt x="936233" y="868130"/>
                </a:lnTo>
                <a:lnTo>
                  <a:pt x="939767" y="862815"/>
                </a:lnTo>
                <a:lnTo>
                  <a:pt x="940945" y="856776"/>
                </a:lnTo>
                <a:lnTo>
                  <a:pt x="939767" y="850739"/>
                </a:lnTo>
                <a:lnTo>
                  <a:pt x="936233" y="845429"/>
                </a:lnTo>
                <a:lnTo>
                  <a:pt x="916307" y="825503"/>
                </a:lnTo>
                <a:lnTo>
                  <a:pt x="917312" y="823262"/>
                </a:lnTo>
                <a:lnTo>
                  <a:pt x="918223" y="821053"/>
                </a:lnTo>
                <a:lnTo>
                  <a:pt x="919113" y="818823"/>
                </a:lnTo>
                <a:lnTo>
                  <a:pt x="956148" y="818823"/>
                </a:lnTo>
                <a:lnTo>
                  <a:pt x="963321" y="811650"/>
                </a:lnTo>
                <a:lnTo>
                  <a:pt x="963321" y="697559"/>
                </a:lnTo>
                <a:lnTo>
                  <a:pt x="956148" y="690376"/>
                </a:lnTo>
                <a:lnTo>
                  <a:pt x="919109" y="690366"/>
                </a:lnTo>
                <a:lnTo>
                  <a:pt x="918219" y="688136"/>
                </a:lnTo>
                <a:lnTo>
                  <a:pt x="917307" y="685916"/>
                </a:lnTo>
                <a:lnTo>
                  <a:pt x="916307" y="683696"/>
                </a:lnTo>
                <a:lnTo>
                  <a:pt x="936247" y="663759"/>
                </a:lnTo>
                <a:lnTo>
                  <a:pt x="939770" y="658445"/>
                </a:lnTo>
                <a:lnTo>
                  <a:pt x="940941" y="652409"/>
                </a:lnTo>
                <a:lnTo>
                  <a:pt x="939756" y="646372"/>
                </a:lnTo>
                <a:lnTo>
                  <a:pt x="936212" y="641059"/>
                </a:lnTo>
                <a:lnTo>
                  <a:pt x="902166" y="607007"/>
                </a:lnTo>
                <a:close/>
              </a:path>
              <a:path w="963930" h="963929">
                <a:moveTo>
                  <a:pt x="577992" y="722491"/>
                </a:moveTo>
                <a:lnTo>
                  <a:pt x="545889" y="722491"/>
                </a:lnTo>
                <a:lnTo>
                  <a:pt x="545889" y="770657"/>
                </a:lnTo>
                <a:lnTo>
                  <a:pt x="577992" y="770657"/>
                </a:lnTo>
                <a:lnTo>
                  <a:pt x="577992" y="722491"/>
                </a:lnTo>
                <a:close/>
              </a:path>
              <a:path w="963930" h="963929">
                <a:moveTo>
                  <a:pt x="326283" y="577992"/>
                </a:moveTo>
                <a:lnTo>
                  <a:pt x="289802" y="577992"/>
                </a:lnTo>
                <a:lnTo>
                  <a:pt x="229144" y="690376"/>
                </a:lnTo>
                <a:lnTo>
                  <a:pt x="265631" y="690366"/>
                </a:lnTo>
                <a:lnTo>
                  <a:pt x="326283" y="577992"/>
                </a:lnTo>
                <a:close/>
              </a:path>
              <a:path w="963930" h="963929">
                <a:moveTo>
                  <a:pt x="265631" y="690366"/>
                </a:moveTo>
                <a:close/>
              </a:path>
              <a:path w="963930" h="963929">
                <a:moveTo>
                  <a:pt x="722491" y="607018"/>
                </a:moveTo>
                <a:lnTo>
                  <a:pt x="652409" y="607018"/>
                </a:lnTo>
                <a:lnTo>
                  <a:pt x="667874" y="622483"/>
                </a:lnTo>
                <a:lnTo>
                  <a:pt x="674000" y="628640"/>
                </a:lnTo>
                <a:lnTo>
                  <a:pt x="681602" y="629792"/>
                </a:lnTo>
                <a:lnTo>
                  <a:pt x="695626" y="622473"/>
                </a:lnTo>
                <a:lnTo>
                  <a:pt x="703530" y="619174"/>
                </a:lnTo>
                <a:lnTo>
                  <a:pt x="717946" y="614620"/>
                </a:lnTo>
                <a:lnTo>
                  <a:pt x="722491" y="608431"/>
                </a:lnTo>
                <a:lnTo>
                  <a:pt x="722491" y="607018"/>
                </a:lnTo>
                <a:close/>
              </a:path>
              <a:path w="963930" h="963929">
                <a:moveTo>
                  <a:pt x="818823" y="0"/>
                </a:moveTo>
                <a:lnTo>
                  <a:pt x="80280" y="0"/>
                </a:lnTo>
                <a:lnTo>
                  <a:pt x="49064" y="6319"/>
                </a:lnTo>
                <a:lnTo>
                  <a:pt x="23542" y="23541"/>
                </a:lnTo>
                <a:lnTo>
                  <a:pt x="6319" y="49059"/>
                </a:lnTo>
                <a:lnTo>
                  <a:pt x="0" y="80269"/>
                </a:lnTo>
                <a:lnTo>
                  <a:pt x="0" y="497723"/>
                </a:lnTo>
                <a:lnTo>
                  <a:pt x="6319" y="528937"/>
                </a:lnTo>
                <a:lnTo>
                  <a:pt x="23542" y="554455"/>
                </a:lnTo>
                <a:lnTo>
                  <a:pt x="49064" y="571674"/>
                </a:lnTo>
                <a:lnTo>
                  <a:pt x="80280" y="577992"/>
                </a:lnTo>
                <a:lnTo>
                  <a:pt x="786719" y="577992"/>
                </a:lnTo>
                <a:lnTo>
                  <a:pt x="786719" y="608431"/>
                </a:lnTo>
                <a:lnTo>
                  <a:pt x="791263" y="614620"/>
                </a:lnTo>
                <a:lnTo>
                  <a:pt x="805717" y="619185"/>
                </a:lnTo>
                <a:lnTo>
                  <a:pt x="813607" y="622483"/>
                </a:lnTo>
                <a:lnTo>
                  <a:pt x="827587" y="629771"/>
                </a:lnTo>
                <a:lnTo>
                  <a:pt x="835168" y="628619"/>
                </a:lnTo>
                <a:lnTo>
                  <a:pt x="856780" y="607007"/>
                </a:lnTo>
                <a:lnTo>
                  <a:pt x="902166" y="607007"/>
                </a:lnTo>
                <a:lnTo>
                  <a:pt x="888053" y="592892"/>
                </a:lnTo>
                <a:lnTo>
                  <a:pt x="825503" y="592892"/>
                </a:lnTo>
                <a:lnTo>
                  <a:pt x="823273" y="591898"/>
                </a:lnTo>
                <a:lnTo>
                  <a:pt x="821053" y="590987"/>
                </a:lnTo>
                <a:lnTo>
                  <a:pt x="818823" y="590097"/>
                </a:lnTo>
                <a:lnTo>
                  <a:pt x="818823" y="577992"/>
                </a:lnTo>
                <a:lnTo>
                  <a:pt x="825701" y="577651"/>
                </a:lnTo>
                <a:lnTo>
                  <a:pt x="832390" y="576680"/>
                </a:lnTo>
                <a:lnTo>
                  <a:pt x="838895" y="575161"/>
                </a:lnTo>
                <a:lnTo>
                  <a:pt x="845220" y="573176"/>
                </a:lnTo>
                <a:lnTo>
                  <a:pt x="868339" y="573176"/>
                </a:lnTo>
                <a:lnTo>
                  <a:pt x="864811" y="569647"/>
                </a:lnTo>
                <a:lnTo>
                  <a:pt x="861059" y="568412"/>
                </a:lnTo>
                <a:lnTo>
                  <a:pt x="856078" y="568412"/>
                </a:lnTo>
                <a:lnTo>
                  <a:pt x="873535" y="555991"/>
                </a:lnTo>
                <a:lnTo>
                  <a:pt x="881889" y="545878"/>
                </a:lnTo>
                <a:lnTo>
                  <a:pt x="80280" y="545878"/>
                </a:lnTo>
                <a:lnTo>
                  <a:pt x="61551" y="542088"/>
                </a:lnTo>
                <a:lnTo>
                  <a:pt x="46239" y="531758"/>
                </a:lnTo>
                <a:lnTo>
                  <a:pt x="35905" y="516449"/>
                </a:lnTo>
                <a:lnTo>
                  <a:pt x="32114" y="497723"/>
                </a:lnTo>
                <a:lnTo>
                  <a:pt x="32114" y="449546"/>
                </a:lnTo>
                <a:lnTo>
                  <a:pt x="899103" y="449546"/>
                </a:lnTo>
                <a:lnTo>
                  <a:pt x="899103" y="417442"/>
                </a:lnTo>
                <a:lnTo>
                  <a:pt x="32114" y="417442"/>
                </a:lnTo>
                <a:lnTo>
                  <a:pt x="32114" y="80269"/>
                </a:lnTo>
                <a:lnTo>
                  <a:pt x="35905" y="61542"/>
                </a:lnTo>
                <a:lnTo>
                  <a:pt x="46239" y="46234"/>
                </a:lnTo>
                <a:lnTo>
                  <a:pt x="61551" y="35904"/>
                </a:lnTo>
                <a:lnTo>
                  <a:pt x="80280" y="32114"/>
                </a:lnTo>
                <a:lnTo>
                  <a:pt x="881347" y="32114"/>
                </a:lnTo>
                <a:lnTo>
                  <a:pt x="875561" y="23541"/>
                </a:lnTo>
                <a:lnTo>
                  <a:pt x="850039" y="6319"/>
                </a:lnTo>
                <a:lnTo>
                  <a:pt x="818823" y="0"/>
                </a:lnTo>
                <a:close/>
              </a:path>
              <a:path w="963930" h="963929">
                <a:moveTo>
                  <a:pt x="722491" y="577992"/>
                </a:moveTo>
                <a:lnTo>
                  <a:pt x="690376" y="577992"/>
                </a:lnTo>
                <a:lnTo>
                  <a:pt x="690376" y="590097"/>
                </a:lnTo>
                <a:lnTo>
                  <a:pt x="688146" y="590987"/>
                </a:lnTo>
                <a:lnTo>
                  <a:pt x="685937" y="591898"/>
                </a:lnTo>
                <a:lnTo>
                  <a:pt x="683706" y="592892"/>
                </a:lnTo>
                <a:lnTo>
                  <a:pt x="722491" y="592892"/>
                </a:lnTo>
                <a:lnTo>
                  <a:pt x="722491" y="577992"/>
                </a:lnTo>
                <a:close/>
              </a:path>
              <a:path w="963930" h="963929">
                <a:moveTo>
                  <a:pt x="868339" y="573176"/>
                </a:moveTo>
                <a:lnTo>
                  <a:pt x="845220" y="573176"/>
                </a:lnTo>
                <a:lnTo>
                  <a:pt x="825503" y="592892"/>
                </a:lnTo>
                <a:lnTo>
                  <a:pt x="888053" y="592892"/>
                </a:lnTo>
                <a:lnTo>
                  <a:pt x="868339" y="573176"/>
                </a:lnTo>
                <a:close/>
              </a:path>
              <a:path w="963930" h="963929">
                <a:moveTo>
                  <a:pt x="668806" y="577992"/>
                </a:moveTo>
                <a:lnTo>
                  <a:pt x="636032" y="577992"/>
                </a:lnTo>
                <a:lnTo>
                  <a:pt x="622200" y="591835"/>
                </a:lnTo>
                <a:lnTo>
                  <a:pt x="682649" y="591835"/>
                </a:lnTo>
                <a:lnTo>
                  <a:pt x="668806" y="577992"/>
                </a:lnTo>
                <a:close/>
              </a:path>
              <a:path w="963930" h="963929">
                <a:moveTo>
                  <a:pt x="860424" y="568202"/>
                </a:moveTo>
                <a:lnTo>
                  <a:pt x="856078" y="568412"/>
                </a:lnTo>
                <a:lnTo>
                  <a:pt x="861059" y="568412"/>
                </a:lnTo>
                <a:lnTo>
                  <a:pt x="860424" y="568202"/>
                </a:lnTo>
                <a:close/>
              </a:path>
              <a:path w="963930" h="963929">
                <a:moveTo>
                  <a:pt x="899103" y="449546"/>
                </a:moveTo>
                <a:lnTo>
                  <a:pt x="866989" y="449546"/>
                </a:lnTo>
                <a:lnTo>
                  <a:pt x="866989" y="497723"/>
                </a:lnTo>
                <a:lnTo>
                  <a:pt x="863199" y="516449"/>
                </a:lnTo>
                <a:lnTo>
                  <a:pt x="852868" y="531758"/>
                </a:lnTo>
                <a:lnTo>
                  <a:pt x="837556" y="542088"/>
                </a:lnTo>
                <a:lnTo>
                  <a:pt x="818823" y="545878"/>
                </a:lnTo>
                <a:lnTo>
                  <a:pt x="881889" y="545878"/>
                </a:lnTo>
                <a:lnTo>
                  <a:pt x="887132" y="539530"/>
                </a:lnTo>
                <a:lnTo>
                  <a:pt x="895958" y="519838"/>
                </a:lnTo>
                <a:lnTo>
                  <a:pt x="899103" y="497723"/>
                </a:lnTo>
                <a:lnTo>
                  <a:pt x="899103" y="449546"/>
                </a:lnTo>
                <a:close/>
              </a:path>
              <a:path w="963930" h="963929">
                <a:moveTo>
                  <a:pt x="881347" y="32114"/>
                </a:moveTo>
                <a:lnTo>
                  <a:pt x="818823" y="32114"/>
                </a:lnTo>
                <a:lnTo>
                  <a:pt x="837556" y="35904"/>
                </a:lnTo>
                <a:lnTo>
                  <a:pt x="852868" y="46234"/>
                </a:lnTo>
                <a:lnTo>
                  <a:pt x="863199" y="61542"/>
                </a:lnTo>
                <a:lnTo>
                  <a:pt x="866989" y="80269"/>
                </a:lnTo>
                <a:lnTo>
                  <a:pt x="866989" y="417442"/>
                </a:lnTo>
                <a:lnTo>
                  <a:pt x="899103" y="417442"/>
                </a:lnTo>
                <a:lnTo>
                  <a:pt x="899103" y="80269"/>
                </a:lnTo>
                <a:lnTo>
                  <a:pt x="892783" y="49059"/>
                </a:lnTo>
                <a:lnTo>
                  <a:pt x="881347" y="32114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1294891" y="5796293"/>
            <a:ext cx="117060" cy="117060"/>
          </a:xfrm>
          <a:custGeom>
            <a:avLst/>
            <a:gdLst/>
            <a:ahLst/>
            <a:cxnLst/>
            <a:rect l="l" t="t" r="r" b="b"/>
            <a:pathLst>
              <a:path w="193039" h="193040">
                <a:moveTo>
                  <a:pt x="96332" y="0"/>
                </a:moveTo>
                <a:lnTo>
                  <a:pt x="58866" y="7580"/>
                </a:lnTo>
                <a:lnTo>
                  <a:pt x="28242" y="28242"/>
                </a:lnTo>
                <a:lnTo>
                  <a:pt x="7580" y="58866"/>
                </a:lnTo>
                <a:lnTo>
                  <a:pt x="0" y="96332"/>
                </a:lnTo>
                <a:lnTo>
                  <a:pt x="7580" y="133797"/>
                </a:lnTo>
                <a:lnTo>
                  <a:pt x="28242" y="164421"/>
                </a:lnTo>
                <a:lnTo>
                  <a:pt x="58866" y="185083"/>
                </a:lnTo>
                <a:lnTo>
                  <a:pt x="96332" y="192664"/>
                </a:lnTo>
                <a:lnTo>
                  <a:pt x="133797" y="185083"/>
                </a:lnTo>
                <a:lnTo>
                  <a:pt x="164421" y="164421"/>
                </a:lnTo>
                <a:lnTo>
                  <a:pt x="167033" y="160550"/>
                </a:lnTo>
                <a:lnTo>
                  <a:pt x="96332" y="160550"/>
                </a:lnTo>
                <a:lnTo>
                  <a:pt x="71352" y="155497"/>
                </a:lnTo>
                <a:lnTo>
                  <a:pt x="50934" y="141724"/>
                </a:lnTo>
                <a:lnTo>
                  <a:pt x="37158" y="121310"/>
                </a:lnTo>
                <a:lnTo>
                  <a:pt x="32103" y="96332"/>
                </a:lnTo>
                <a:lnTo>
                  <a:pt x="37158" y="71352"/>
                </a:lnTo>
                <a:lnTo>
                  <a:pt x="50934" y="50934"/>
                </a:lnTo>
                <a:lnTo>
                  <a:pt x="71352" y="37158"/>
                </a:lnTo>
                <a:lnTo>
                  <a:pt x="96332" y="32103"/>
                </a:lnTo>
                <a:lnTo>
                  <a:pt x="167026" y="32103"/>
                </a:lnTo>
                <a:lnTo>
                  <a:pt x="164421" y="28242"/>
                </a:lnTo>
                <a:lnTo>
                  <a:pt x="133797" y="7580"/>
                </a:lnTo>
                <a:lnTo>
                  <a:pt x="96332" y="0"/>
                </a:lnTo>
                <a:close/>
              </a:path>
              <a:path w="193039" h="193040">
                <a:moveTo>
                  <a:pt x="167026" y="32103"/>
                </a:moveTo>
                <a:lnTo>
                  <a:pt x="96332" y="32103"/>
                </a:lnTo>
                <a:lnTo>
                  <a:pt x="121305" y="37158"/>
                </a:lnTo>
                <a:lnTo>
                  <a:pt x="141720" y="50934"/>
                </a:lnTo>
                <a:lnTo>
                  <a:pt x="155495" y="71352"/>
                </a:lnTo>
                <a:lnTo>
                  <a:pt x="160550" y="96332"/>
                </a:lnTo>
                <a:lnTo>
                  <a:pt x="155495" y="121310"/>
                </a:lnTo>
                <a:lnTo>
                  <a:pt x="141720" y="141724"/>
                </a:lnTo>
                <a:lnTo>
                  <a:pt x="121305" y="155497"/>
                </a:lnTo>
                <a:lnTo>
                  <a:pt x="96332" y="160550"/>
                </a:lnTo>
                <a:lnTo>
                  <a:pt x="167033" y="160550"/>
                </a:lnTo>
                <a:lnTo>
                  <a:pt x="185083" y="133797"/>
                </a:lnTo>
                <a:lnTo>
                  <a:pt x="192664" y="96332"/>
                </a:lnTo>
                <a:lnTo>
                  <a:pt x="185083" y="58866"/>
                </a:lnTo>
                <a:lnTo>
                  <a:pt x="167026" y="32103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1002810" y="5458389"/>
            <a:ext cx="85099" cy="150175"/>
          </a:xfrm>
          <a:custGeom>
            <a:avLst/>
            <a:gdLst/>
            <a:ahLst/>
            <a:cxnLst/>
            <a:rect l="l" t="t" r="r" b="b"/>
            <a:pathLst>
              <a:path w="140335" h="247650">
                <a:moveTo>
                  <a:pt x="117094" y="0"/>
                </a:moveTo>
                <a:lnTo>
                  <a:pt x="4710" y="112384"/>
                </a:lnTo>
                <a:lnTo>
                  <a:pt x="1176" y="117695"/>
                </a:lnTo>
                <a:lnTo>
                  <a:pt x="0" y="123744"/>
                </a:lnTo>
                <a:lnTo>
                  <a:pt x="1176" y="129778"/>
                </a:lnTo>
                <a:lnTo>
                  <a:pt x="4710" y="135095"/>
                </a:lnTo>
                <a:lnTo>
                  <a:pt x="117094" y="247479"/>
                </a:lnTo>
                <a:lnTo>
                  <a:pt x="139795" y="224768"/>
                </a:lnTo>
                <a:lnTo>
                  <a:pt x="38761" y="123744"/>
                </a:lnTo>
                <a:lnTo>
                  <a:pt x="139795" y="22700"/>
                </a:lnTo>
                <a:lnTo>
                  <a:pt x="117094" y="0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1219856" y="5458389"/>
            <a:ext cx="85099" cy="150175"/>
          </a:xfrm>
          <a:custGeom>
            <a:avLst/>
            <a:gdLst/>
            <a:ahLst/>
            <a:cxnLst/>
            <a:rect l="l" t="t" r="r" b="b"/>
            <a:pathLst>
              <a:path w="140335" h="247650">
                <a:moveTo>
                  <a:pt x="22700" y="0"/>
                </a:moveTo>
                <a:lnTo>
                  <a:pt x="0" y="22700"/>
                </a:lnTo>
                <a:lnTo>
                  <a:pt x="101033" y="123744"/>
                </a:lnTo>
                <a:lnTo>
                  <a:pt x="0" y="224768"/>
                </a:lnTo>
                <a:lnTo>
                  <a:pt x="22700" y="247479"/>
                </a:lnTo>
                <a:lnTo>
                  <a:pt x="135084" y="135095"/>
                </a:lnTo>
                <a:lnTo>
                  <a:pt x="138618" y="129778"/>
                </a:lnTo>
                <a:lnTo>
                  <a:pt x="139796" y="123735"/>
                </a:lnTo>
                <a:lnTo>
                  <a:pt x="138618" y="117695"/>
                </a:lnTo>
                <a:lnTo>
                  <a:pt x="135084" y="112384"/>
                </a:lnTo>
                <a:lnTo>
                  <a:pt x="22700" y="0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1101195" y="5431750"/>
            <a:ext cx="105123" cy="184061"/>
          </a:xfrm>
          <a:custGeom>
            <a:avLst/>
            <a:gdLst/>
            <a:ahLst/>
            <a:cxnLst/>
            <a:rect l="l" t="t" r="r" b="b"/>
            <a:pathLst>
              <a:path w="173355" h="303529">
                <a:moveTo>
                  <a:pt x="144456" y="0"/>
                </a:moveTo>
                <a:lnTo>
                  <a:pt x="0" y="288933"/>
                </a:lnTo>
                <a:lnTo>
                  <a:pt x="28721" y="303289"/>
                </a:lnTo>
                <a:lnTo>
                  <a:pt x="173177" y="14366"/>
                </a:lnTo>
                <a:lnTo>
                  <a:pt x="144456" y="0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1275418" y="5601573"/>
            <a:ext cx="19638" cy="0"/>
          </a:xfrm>
          <a:custGeom>
            <a:avLst/>
            <a:gdLst/>
            <a:ahLst/>
            <a:cxnLst/>
            <a:rect l="l" t="t" r="r" b="b"/>
            <a:pathLst>
              <a:path w="32385">
                <a:moveTo>
                  <a:pt x="0" y="0"/>
                </a:moveTo>
                <a:lnTo>
                  <a:pt x="32114" y="0"/>
                </a:lnTo>
              </a:path>
            </a:pathLst>
          </a:custGeom>
          <a:ln w="32114">
            <a:solidFill>
              <a:srgbClr val="158FDB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1314360" y="5601573"/>
            <a:ext cx="19638" cy="0"/>
          </a:xfrm>
          <a:custGeom>
            <a:avLst/>
            <a:gdLst/>
            <a:ahLst/>
            <a:cxnLst/>
            <a:rect l="l" t="t" r="r" b="b"/>
            <a:pathLst>
              <a:path w="32385">
                <a:moveTo>
                  <a:pt x="0" y="0"/>
                </a:moveTo>
                <a:lnTo>
                  <a:pt x="32114" y="0"/>
                </a:lnTo>
              </a:path>
            </a:pathLst>
          </a:custGeom>
          <a:ln w="32114">
            <a:solidFill>
              <a:srgbClr val="158FDB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1353308" y="5601573"/>
            <a:ext cx="19638" cy="0"/>
          </a:xfrm>
          <a:custGeom>
            <a:avLst/>
            <a:gdLst/>
            <a:ahLst/>
            <a:cxnLst/>
            <a:rect l="l" t="t" r="r" b="b"/>
            <a:pathLst>
              <a:path w="32385">
                <a:moveTo>
                  <a:pt x="0" y="0"/>
                </a:moveTo>
                <a:lnTo>
                  <a:pt x="32103" y="0"/>
                </a:lnTo>
              </a:path>
            </a:pathLst>
          </a:custGeom>
          <a:ln w="32114">
            <a:solidFill>
              <a:srgbClr val="158FDB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6381727" y="5633328"/>
            <a:ext cx="590689" cy="275706"/>
          </a:xfrm>
          <a:custGeom>
            <a:avLst/>
            <a:gdLst/>
            <a:ahLst/>
            <a:cxnLst/>
            <a:rect l="l" t="t" r="r" b="b"/>
            <a:pathLst>
              <a:path w="974090" h="454659">
                <a:moveTo>
                  <a:pt x="925102" y="0"/>
                </a:moveTo>
                <a:lnTo>
                  <a:pt x="48700" y="0"/>
                </a:lnTo>
                <a:lnTo>
                  <a:pt x="29760" y="3832"/>
                </a:lnTo>
                <a:lnTo>
                  <a:pt x="14278" y="14275"/>
                </a:lnTo>
                <a:lnTo>
                  <a:pt x="3832" y="29751"/>
                </a:lnTo>
                <a:lnTo>
                  <a:pt x="0" y="48679"/>
                </a:lnTo>
                <a:lnTo>
                  <a:pt x="0" y="405736"/>
                </a:lnTo>
                <a:lnTo>
                  <a:pt x="3832" y="424670"/>
                </a:lnTo>
                <a:lnTo>
                  <a:pt x="14278" y="440148"/>
                </a:lnTo>
                <a:lnTo>
                  <a:pt x="29760" y="450593"/>
                </a:lnTo>
                <a:lnTo>
                  <a:pt x="48700" y="454425"/>
                </a:lnTo>
                <a:lnTo>
                  <a:pt x="268641" y="454425"/>
                </a:lnTo>
                <a:lnTo>
                  <a:pt x="275907" y="447180"/>
                </a:lnTo>
                <a:lnTo>
                  <a:pt x="275907" y="429222"/>
                </a:lnTo>
                <a:lnTo>
                  <a:pt x="268641" y="421966"/>
                </a:lnTo>
                <a:lnTo>
                  <a:pt x="39747" y="421966"/>
                </a:lnTo>
                <a:lnTo>
                  <a:pt x="32459" y="414699"/>
                </a:lnTo>
                <a:lnTo>
                  <a:pt x="32459" y="39737"/>
                </a:lnTo>
                <a:lnTo>
                  <a:pt x="39747" y="32449"/>
                </a:lnTo>
                <a:lnTo>
                  <a:pt x="970505" y="32449"/>
                </a:lnTo>
                <a:lnTo>
                  <a:pt x="969958" y="29751"/>
                </a:lnTo>
                <a:lnTo>
                  <a:pt x="959511" y="14275"/>
                </a:lnTo>
                <a:lnTo>
                  <a:pt x="944032" y="3832"/>
                </a:lnTo>
                <a:lnTo>
                  <a:pt x="925102" y="0"/>
                </a:lnTo>
                <a:close/>
              </a:path>
              <a:path w="974090" h="454659">
                <a:moveTo>
                  <a:pt x="970505" y="32449"/>
                </a:moveTo>
                <a:lnTo>
                  <a:pt x="934055" y="32449"/>
                </a:lnTo>
                <a:lnTo>
                  <a:pt x="941332" y="39737"/>
                </a:lnTo>
                <a:lnTo>
                  <a:pt x="941332" y="414699"/>
                </a:lnTo>
                <a:lnTo>
                  <a:pt x="934055" y="421966"/>
                </a:lnTo>
                <a:lnTo>
                  <a:pt x="705140" y="421966"/>
                </a:lnTo>
                <a:lnTo>
                  <a:pt x="697884" y="429222"/>
                </a:lnTo>
                <a:lnTo>
                  <a:pt x="697884" y="447180"/>
                </a:lnTo>
                <a:lnTo>
                  <a:pt x="705140" y="454425"/>
                </a:lnTo>
                <a:lnTo>
                  <a:pt x="925102" y="454425"/>
                </a:lnTo>
                <a:lnTo>
                  <a:pt x="944032" y="450593"/>
                </a:lnTo>
                <a:lnTo>
                  <a:pt x="959511" y="440148"/>
                </a:lnTo>
                <a:lnTo>
                  <a:pt x="969958" y="424670"/>
                </a:lnTo>
                <a:lnTo>
                  <a:pt x="973792" y="405736"/>
                </a:lnTo>
                <a:lnTo>
                  <a:pt x="973792" y="48679"/>
                </a:lnTo>
                <a:lnTo>
                  <a:pt x="970505" y="32449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6529360" y="5771104"/>
            <a:ext cx="295345" cy="216791"/>
          </a:xfrm>
          <a:custGeom>
            <a:avLst/>
            <a:gdLst/>
            <a:ahLst/>
            <a:cxnLst/>
            <a:rect l="l" t="t" r="r" b="b"/>
            <a:pathLst>
              <a:path w="487045" h="357504">
                <a:moveTo>
                  <a:pt x="25182" y="0"/>
                </a:moveTo>
                <a:lnTo>
                  <a:pt x="7266" y="0"/>
                </a:lnTo>
                <a:lnTo>
                  <a:pt x="0" y="7266"/>
                </a:lnTo>
                <a:lnTo>
                  <a:pt x="0" y="324597"/>
                </a:lnTo>
                <a:lnTo>
                  <a:pt x="2553" y="337224"/>
                </a:lnTo>
                <a:lnTo>
                  <a:pt x="9514" y="347547"/>
                </a:lnTo>
                <a:lnTo>
                  <a:pt x="19829" y="354512"/>
                </a:lnTo>
                <a:lnTo>
                  <a:pt x="32449" y="357067"/>
                </a:lnTo>
                <a:lnTo>
                  <a:pt x="454425" y="357067"/>
                </a:lnTo>
                <a:lnTo>
                  <a:pt x="467053" y="354512"/>
                </a:lnTo>
                <a:lnTo>
                  <a:pt x="477375" y="347547"/>
                </a:lnTo>
                <a:lnTo>
                  <a:pt x="484340" y="337224"/>
                </a:lnTo>
                <a:lnTo>
                  <a:pt x="486896" y="324597"/>
                </a:lnTo>
                <a:lnTo>
                  <a:pt x="32449" y="324597"/>
                </a:lnTo>
                <a:lnTo>
                  <a:pt x="32449" y="7266"/>
                </a:lnTo>
                <a:lnTo>
                  <a:pt x="25182" y="0"/>
                </a:lnTo>
                <a:close/>
              </a:path>
              <a:path w="487045" h="357504">
                <a:moveTo>
                  <a:pt x="479629" y="0"/>
                </a:moveTo>
                <a:lnTo>
                  <a:pt x="461682" y="0"/>
                </a:lnTo>
                <a:lnTo>
                  <a:pt x="454425" y="7266"/>
                </a:lnTo>
                <a:lnTo>
                  <a:pt x="454425" y="324597"/>
                </a:lnTo>
                <a:lnTo>
                  <a:pt x="486896" y="324597"/>
                </a:lnTo>
                <a:lnTo>
                  <a:pt x="486896" y="7266"/>
                </a:lnTo>
                <a:lnTo>
                  <a:pt x="479629" y="0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6529358" y="5397119"/>
            <a:ext cx="295345" cy="216791"/>
          </a:xfrm>
          <a:custGeom>
            <a:avLst/>
            <a:gdLst/>
            <a:ahLst/>
            <a:cxnLst/>
            <a:rect l="l" t="t" r="r" b="b"/>
            <a:pathLst>
              <a:path w="487045" h="357504">
                <a:moveTo>
                  <a:pt x="382260" y="0"/>
                </a:moveTo>
                <a:lnTo>
                  <a:pt x="32449" y="0"/>
                </a:lnTo>
                <a:lnTo>
                  <a:pt x="19829" y="2555"/>
                </a:lnTo>
                <a:lnTo>
                  <a:pt x="9514" y="9519"/>
                </a:lnTo>
                <a:lnTo>
                  <a:pt x="2553" y="19838"/>
                </a:lnTo>
                <a:lnTo>
                  <a:pt x="0" y="32459"/>
                </a:lnTo>
                <a:lnTo>
                  <a:pt x="0" y="349790"/>
                </a:lnTo>
                <a:lnTo>
                  <a:pt x="7266" y="357057"/>
                </a:lnTo>
                <a:lnTo>
                  <a:pt x="479629" y="357057"/>
                </a:lnTo>
                <a:lnTo>
                  <a:pt x="486896" y="349790"/>
                </a:lnTo>
                <a:lnTo>
                  <a:pt x="486896" y="324597"/>
                </a:lnTo>
                <a:lnTo>
                  <a:pt x="32449" y="324597"/>
                </a:lnTo>
                <a:lnTo>
                  <a:pt x="32449" y="32459"/>
                </a:lnTo>
                <a:lnTo>
                  <a:pt x="389516" y="32459"/>
                </a:lnTo>
                <a:lnTo>
                  <a:pt x="389516" y="7277"/>
                </a:lnTo>
                <a:lnTo>
                  <a:pt x="382260" y="0"/>
                </a:lnTo>
                <a:close/>
              </a:path>
              <a:path w="487045" h="357504">
                <a:moveTo>
                  <a:pt x="389516" y="32459"/>
                </a:moveTo>
                <a:lnTo>
                  <a:pt x="357046" y="32459"/>
                </a:lnTo>
                <a:lnTo>
                  <a:pt x="357046" y="122572"/>
                </a:lnTo>
                <a:lnTo>
                  <a:pt x="364313" y="129849"/>
                </a:lnTo>
                <a:lnTo>
                  <a:pt x="454425" y="129849"/>
                </a:lnTo>
                <a:lnTo>
                  <a:pt x="454425" y="324597"/>
                </a:lnTo>
                <a:lnTo>
                  <a:pt x="486896" y="324597"/>
                </a:lnTo>
                <a:lnTo>
                  <a:pt x="486896" y="104656"/>
                </a:lnTo>
                <a:lnTo>
                  <a:pt x="479629" y="97379"/>
                </a:lnTo>
                <a:lnTo>
                  <a:pt x="389516" y="97379"/>
                </a:lnTo>
                <a:lnTo>
                  <a:pt x="389516" y="32459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6480151" y="5771107"/>
            <a:ext cx="393921" cy="88950"/>
          </a:xfrm>
          <a:custGeom>
            <a:avLst/>
            <a:gdLst/>
            <a:ahLst/>
            <a:cxnLst/>
            <a:rect l="l" t="t" r="r" b="b"/>
            <a:pathLst>
              <a:path w="649604" h="146684">
                <a:moveTo>
                  <a:pt x="600494" y="0"/>
                </a:moveTo>
                <a:lnTo>
                  <a:pt x="48647" y="0"/>
                </a:lnTo>
                <a:lnTo>
                  <a:pt x="29774" y="3872"/>
                </a:lnTo>
                <a:lnTo>
                  <a:pt x="14322" y="14328"/>
                </a:lnTo>
                <a:lnTo>
                  <a:pt x="3871" y="29792"/>
                </a:lnTo>
                <a:lnTo>
                  <a:pt x="10" y="48637"/>
                </a:lnTo>
                <a:lnTo>
                  <a:pt x="0" y="97421"/>
                </a:lnTo>
                <a:lnTo>
                  <a:pt x="3871" y="116299"/>
                </a:lnTo>
                <a:lnTo>
                  <a:pt x="14326" y="131753"/>
                </a:lnTo>
                <a:lnTo>
                  <a:pt x="29788" y="142203"/>
                </a:lnTo>
                <a:lnTo>
                  <a:pt x="48679" y="146068"/>
                </a:lnTo>
                <a:lnTo>
                  <a:pt x="106331" y="146068"/>
                </a:lnTo>
                <a:lnTo>
                  <a:pt x="113598" y="138822"/>
                </a:lnTo>
                <a:lnTo>
                  <a:pt x="113598" y="120865"/>
                </a:lnTo>
                <a:lnTo>
                  <a:pt x="106331" y="113609"/>
                </a:lnTo>
                <a:lnTo>
                  <a:pt x="39789" y="113588"/>
                </a:lnTo>
                <a:lnTo>
                  <a:pt x="32470" y="106289"/>
                </a:lnTo>
                <a:lnTo>
                  <a:pt x="32470" y="39789"/>
                </a:lnTo>
                <a:lnTo>
                  <a:pt x="39789" y="32470"/>
                </a:lnTo>
                <a:lnTo>
                  <a:pt x="645878" y="32470"/>
                </a:lnTo>
                <a:lnTo>
                  <a:pt x="645324" y="29770"/>
                </a:lnTo>
                <a:lnTo>
                  <a:pt x="634869" y="14321"/>
                </a:lnTo>
                <a:lnTo>
                  <a:pt x="619402" y="3871"/>
                </a:lnTo>
                <a:lnTo>
                  <a:pt x="600494" y="0"/>
                </a:lnTo>
                <a:close/>
              </a:path>
              <a:path w="649604" h="146684">
                <a:moveTo>
                  <a:pt x="645878" y="32470"/>
                </a:moveTo>
                <a:lnTo>
                  <a:pt x="609405" y="32470"/>
                </a:lnTo>
                <a:lnTo>
                  <a:pt x="616714" y="39789"/>
                </a:lnTo>
                <a:lnTo>
                  <a:pt x="616714" y="106289"/>
                </a:lnTo>
                <a:lnTo>
                  <a:pt x="609405" y="113588"/>
                </a:lnTo>
                <a:lnTo>
                  <a:pt x="542831" y="113609"/>
                </a:lnTo>
                <a:lnTo>
                  <a:pt x="535575" y="120865"/>
                </a:lnTo>
                <a:lnTo>
                  <a:pt x="535575" y="138822"/>
                </a:lnTo>
                <a:lnTo>
                  <a:pt x="542831" y="146068"/>
                </a:lnTo>
                <a:lnTo>
                  <a:pt x="600547" y="146068"/>
                </a:lnTo>
                <a:lnTo>
                  <a:pt x="619424" y="142202"/>
                </a:lnTo>
                <a:lnTo>
                  <a:pt x="634875" y="131749"/>
                </a:lnTo>
                <a:lnTo>
                  <a:pt x="645324" y="116286"/>
                </a:lnTo>
                <a:lnTo>
                  <a:pt x="649188" y="97421"/>
                </a:lnTo>
                <a:lnTo>
                  <a:pt x="649194" y="48637"/>
                </a:lnTo>
                <a:lnTo>
                  <a:pt x="645878" y="32470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6578567" y="5869521"/>
            <a:ext cx="197153" cy="20023"/>
          </a:xfrm>
          <a:custGeom>
            <a:avLst/>
            <a:gdLst/>
            <a:ahLst/>
            <a:cxnLst/>
            <a:rect l="l" t="t" r="r" b="b"/>
            <a:pathLst>
              <a:path w="325120" h="33020">
                <a:moveTo>
                  <a:pt x="317330" y="0"/>
                </a:moveTo>
                <a:lnTo>
                  <a:pt x="7266" y="0"/>
                </a:lnTo>
                <a:lnTo>
                  <a:pt x="0" y="7266"/>
                </a:lnTo>
                <a:lnTo>
                  <a:pt x="0" y="25213"/>
                </a:lnTo>
                <a:lnTo>
                  <a:pt x="7266" y="32470"/>
                </a:lnTo>
                <a:lnTo>
                  <a:pt x="317330" y="32470"/>
                </a:lnTo>
                <a:lnTo>
                  <a:pt x="324597" y="25213"/>
                </a:lnTo>
                <a:lnTo>
                  <a:pt x="324597" y="7266"/>
                </a:lnTo>
                <a:lnTo>
                  <a:pt x="317330" y="0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6578567" y="5820312"/>
            <a:ext cx="197153" cy="20023"/>
          </a:xfrm>
          <a:custGeom>
            <a:avLst/>
            <a:gdLst/>
            <a:ahLst/>
            <a:cxnLst/>
            <a:rect l="l" t="t" r="r" b="b"/>
            <a:pathLst>
              <a:path w="325120" h="33020">
                <a:moveTo>
                  <a:pt x="317330" y="0"/>
                </a:moveTo>
                <a:lnTo>
                  <a:pt x="7266" y="0"/>
                </a:lnTo>
                <a:lnTo>
                  <a:pt x="0" y="7266"/>
                </a:lnTo>
                <a:lnTo>
                  <a:pt x="0" y="25213"/>
                </a:lnTo>
                <a:lnTo>
                  <a:pt x="7266" y="32470"/>
                </a:lnTo>
                <a:lnTo>
                  <a:pt x="317330" y="32470"/>
                </a:lnTo>
                <a:lnTo>
                  <a:pt x="324597" y="25213"/>
                </a:lnTo>
                <a:lnTo>
                  <a:pt x="324597" y="7266"/>
                </a:lnTo>
                <a:lnTo>
                  <a:pt x="317330" y="0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6745875" y="5397121"/>
            <a:ext cx="78938" cy="78938"/>
          </a:xfrm>
          <a:custGeom>
            <a:avLst/>
            <a:gdLst/>
            <a:ahLst/>
            <a:cxnLst/>
            <a:rect l="l" t="t" r="r" b="b"/>
            <a:pathLst>
              <a:path w="130175" h="130175">
                <a:moveTo>
                  <a:pt x="16231" y="0"/>
                </a:moveTo>
                <a:lnTo>
                  <a:pt x="10128" y="1189"/>
                </a:lnTo>
                <a:lnTo>
                  <a:pt x="4759" y="4759"/>
                </a:lnTo>
                <a:lnTo>
                  <a:pt x="1189" y="10129"/>
                </a:lnTo>
                <a:lnTo>
                  <a:pt x="0" y="16233"/>
                </a:lnTo>
                <a:lnTo>
                  <a:pt x="1189" y="22335"/>
                </a:lnTo>
                <a:lnTo>
                  <a:pt x="4759" y="27700"/>
                </a:lnTo>
                <a:lnTo>
                  <a:pt x="105300" y="128252"/>
                </a:lnTo>
                <a:lnTo>
                  <a:pt x="109457" y="129844"/>
                </a:lnTo>
                <a:lnTo>
                  <a:pt x="117760" y="129844"/>
                </a:lnTo>
                <a:lnTo>
                  <a:pt x="121917" y="128252"/>
                </a:lnTo>
                <a:lnTo>
                  <a:pt x="125090" y="125090"/>
                </a:lnTo>
                <a:lnTo>
                  <a:pt x="128653" y="119715"/>
                </a:lnTo>
                <a:lnTo>
                  <a:pt x="129841" y="113610"/>
                </a:lnTo>
                <a:lnTo>
                  <a:pt x="128653" y="107507"/>
                </a:lnTo>
                <a:lnTo>
                  <a:pt x="125090" y="102138"/>
                </a:lnTo>
                <a:lnTo>
                  <a:pt x="27711" y="4759"/>
                </a:lnTo>
                <a:lnTo>
                  <a:pt x="22335" y="1189"/>
                </a:lnTo>
                <a:lnTo>
                  <a:pt x="16231" y="0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6387335" y="5534907"/>
            <a:ext cx="161727" cy="124375"/>
          </a:xfrm>
          <a:custGeom>
            <a:avLst/>
            <a:gdLst/>
            <a:ahLst/>
            <a:cxnLst/>
            <a:rect l="l" t="t" r="r" b="b"/>
            <a:pathLst>
              <a:path w="266700" h="205104">
                <a:moveTo>
                  <a:pt x="259386" y="0"/>
                </a:moveTo>
                <a:lnTo>
                  <a:pt x="168645" y="0"/>
                </a:lnTo>
                <a:lnTo>
                  <a:pt x="157749" y="1221"/>
                </a:lnTo>
                <a:lnTo>
                  <a:pt x="3414" y="178329"/>
                </a:lnTo>
                <a:lnTo>
                  <a:pt x="0" y="190270"/>
                </a:lnTo>
                <a:lnTo>
                  <a:pt x="1873" y="196206"/>
                </a:lnTo>
                <a:lnTo>
                  <a:pt x="6032" y="201135"/>
                </a:lnTo>
                <a:lnTo>
                  <a:pt x="9016" y="203512"/>
                </a:lnTo>
                <a:lnTo>
                  <a:pt x="12587" y="204653"/>
                </a:lnTo>
                <a:lnTo>
                  <a:pt x="20890" y="204653"/>
                </a:lnTo>
                <a:lnTo>
                  <a:pt x="25613" y="202569"/>
                </a:lnTo>
                <a:lnTo>
                  <a:pt x="155954" y="38564"/>
                </a:lnTo>
                <a:lnTo>
                  <a:pt x="159074" y="34690"/>
                </a:lnTo>
                <a:lnTo>
                  <a:pt x="163703" y="32459"/>
                </a:lnTo>
                <a:lnTo>
                  <a:pt x="259386" y="32459"/>
                </a:lnTo>
                <a:lnTo>
                  <a:pt x="266663" y="25182"/>
                </a:lnTo>
                <a:lnTo>
                  <a:pt x="266663" y="7266"/>
                </a:lnTo>
                <a:lnTo>
                  <a:pt x="259386" y="0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6804923" y="5534910"/>
            <a:ext cx="163267" cy="125916"/>
          </a:xfrm>
          <a:custGeom>
            <a:avLst/>
            <a:gdLst/>
            <a:ahLst/>
            <a:cxnLst/>
            <a:rect l="l" t="t" r="r" b="b"/>
            <a:pathLst>
              <a:path w="269240" h="207645">
                <a:moveTo>
                  <a:pt x="98017" y="0"/>
                </a:moveTo>
                <a:lnTo>
                  <a:pt x="7266" y="0"/>
                </a:lnTo>
                <a:lnTo>
                  <a:pt x="0" y="7266"/>
                </a:lnTo>
                <a:lnTo>
                  <a:pt x="0" y="25182"/>
                </a:lnTo>
                <a:lnTo>
                  <a:pt x="7266" y="32449"/>
                </a:lnTo>
                <a:lnTo>
                  <a:pt x="102970" y="32449"/>
                </a:lnTo>
                <a:lnTo>
                  <a:pt x="107598" y="34679"/>
                </a:lnTo>
                <a:lnTo>
                  <a:pt x="110666" y="38501"/>
                </a:lnTo>
                <a:lnTo>
                  <a:pt x="243175" y="205009"/>
                </a:lnTo>
                <a:lnTo>
                  <a:pt x="247898" y="207103"/>
                </a:lnTo>
                <a:lnTo>
                  <a:pt x="256222" y="207103"/>
                </a:lnTo>
                <a:lnTo>
                  <a:pt x="259793" y="205951"/>
                </a:lnTo>
                <a:lnTo>
                  <a:pt x="262798" y="203585"/>
                </a:lnTo>
                <a:lnTo>
                  <a:pt x="266936" y="198648"/>
                </a:lnTo>
                <a:lnTo>
                  <a:pt x="268803" y="192712"/>
                </a:lnTo>
                <a:lnTo>
                  <a:pt x="268314" y="186512"/>
                </a:lnTo>
                <a:lnTo>
                  <a:pt x="136027" y="18250"/>
                </a:lnTo>
                <a:lnTo>
                  <a:pt x="108913" y="1218"/>
                </a:lnTo>
                <a:lnTo>
                  <a:pt x="98017" y="0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6588408" y="5702213"/>
            <a:ext cx="98577" cy="20023"/>
          </a:xfrm>
          <a:custGeom>
            <a:avLst/>
            <a:gdLst/>
            <a:ahLst/>
            <a:cxnLst/>
            <a:rect l="l" t="t" r="r" b="b"/>
            <a:pathLst>
              <a:path w="162559" h="33020">
                <a:moveTo>
                  <a:pt x="155042" y="0"/>
                </a:moveTo>
                <a:lnTo>
                  <a:pt x="7266" y="0"/>
                </a:lnTo>
                <a:lnTo>
                  <a:pt x="0" y="7266"/>
                </a:lnTo>
                <a:lnTo>
                  <a:pt x="0" y="25213"/>
                </a:lnTo>
                <a:lnTo>
                  <a:pt x="7266" y="32459"/>
                </a:lnTo>
                <a:lnTo>
                  <a:pt x="155042" y="32459"/>
                </a:lnTo>
                <a:lnTo>
                  <a:pt x="162298" y="25213"/>
                </a:lnTo>
                <a:lnTo>
                  <a:pt x="162298" y="7266"/>
                </a:lnTo>
                <a:lnTo>
                  <a:pt x="155042" y="0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1124298" y="5111392"/>
            <a:ext cx="5532608" cy="190607"/>
          </a:xfrm>
          <a:custGeom>
            <a:avLst/>
            <a:gdLst/>
            <a:ahLst/>
            <a:cxnLst/>
            <a:rect l="l" t="t" r="r" b="b"/>
            <a:pathLst>
              <a:path w="9123680" h="314325">
                <a:moveTo>
                  <a:pt x="0" y="293184"/>
                </a:moveTo>
                <a:lnTo>
                  <a:pt x="0" y="0"/>
                </a:lnTo>
                <a:lnTo>
                  <a:pt x="9123627" y="0"/>
                </a:lnTo>
                <a:lnTo>
                  <a:pt x="9123627" y="314126"/>
                </a:lnTo>
              </a:path>
            </a:pathLst>
          </a:custGeom>
          <a:ln w="20941">
            <a:solidFill>
              <a:srgbClr val="158FDB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6636296" y="5282482"/>
            <a:ext cx="43127" cy="37351"/>
          </a:xfrm>
          <a:custGeom>
            <a:avLst/>
            <a:gdLst/>
            <a:ahLst/>
            <a:cxnLst/>
            <a:rect l="l" t="t" r="r" b="b"/>
            <a:pathLst>
              <a:path w="71120" h="61595">
                <a:moveTo>
                  <a:pt x="70500" y="0"/>
                </a:moveTo>
                <a:lnTo>
                  <a:pt x="0" y="0"/>
                </a:lnTo>
                <a:lnTo>
                  <a:pt x="35245" y="61055"/>
                </a:lnTo>
                <a:lnTo>
                  <a:pt x="70500" y="0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10108918" y="1619136"/>
            <a:ext cx="1320707" cy="1815972"/>
          </a:xfrm>
          <a:prstGeom prst="rect">
            <a:avLst/>
          </a:prstGeom>
          <a:blipFill dpi="0" rotWithShape="1">
            <a:blip r:embed="rId11" cstate="print">
              <a:alphaModFix amt="40000"/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10167056" y="1679453"/>
            <a:ext cx="1199380" cy="1695278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9302524" y="1822323"/>
            <a:ext cx="1447698" cy="1993759"/>
          </a:xfrm>
          <a:prstGeom prst="rect">
            <a:avLst/>
          </a:prstGeom>
          <a:blipFill dpi="0" rotWithShape="1">
            <a:blip r:embed="rId13" cstate="print">
              <a:alphaModFix amt="40000"/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9362775" y="1882039"/>
            <a:ext cx="1324295" cy="1871841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8546928" y="2114401"/>
            <a:ext cx="1454047" cy="2006459"/>
          </a:xfrm>
          <a:prstGeom prst="rect">
            <a:avLst/>
          </a:prstGeom>
          <a:blipFill dpi="0" rotWithShape="1">
            <a:blip r:embed="rId15" cstate="print">
              <a:alphaModFix amt="40000"/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8608231" y="2175781"/>
            <a:ext cx="1332810" cy="1883875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7765932" y="2374733"/>
            <a:ext cx="1549291" cy="2139800"/>
          </a:xfrm>
          <a:prstGeom prst="rect">
            <a:avLst/>
          </a:prstGeom>
          <a:blipFill dpi="0" rotWithShape="1">
            <a:blip r:embed="rId17" cstate="print">
              <a:alphaModFix amt="40000"/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7823262" y="2435492"/>
            <a:ext cx="1428887" cy="2019676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7003986" y="2558870"/>
            <a:ext cx="1644534" cy="2273140"/>
          </a:xfrm>
          <a:prstGeom prst="rect">
            <a:avLst/>
          </a:prstGeom>
          <a:blipFill dpi="0" rotWithShape="1">
            <a:blip r:embed="rId19" cstate="print">
              <a:alphaModFix amt="40000"/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7061136" y="2616448"/>
            <a:ext cx="1523926" cy="2154006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8" name="object 2"/>
          <p:cNvSpPr txBox="1">
            <a:spLocks/>
          </p:cNvSpPr>
          <p:nvPr/>
        </p:nvSpPr>
        <p:spPr>
          <a:xfrm>
            <a:off x="637672" y="431385"/>
            <a:ext cx="8406274" cy="4479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911" kern="0" spc="6" dirty="0">
                <a:solidFill>
                  <a:prstClr val="white"/>
                </a:solidFill>
                <a:latin typeface="Open Sans Light"/>
                <a:cs typeface="Open Sans Light"/>
              </a:rPr>
              <a:t>Индивидуальный подход: рацион</a:t>
            </a:r>
            <a:endParaRPr lang="ru-RU" sz="2911" kern="0" dirty="0">
              <a:solidFill>
                <a:prstClr val="white"/>
              </a:solidFill>
              <a:latin typeface="Open Sans Light"/>
              <a:cs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4272786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0381129" y="650214"/>
            <a:ext cx="119370" cy="164423"/>
          </a:xfrm>
          <a:custGeom>
            <a:avLst/>
            <a:gdLst/>
            <a:ahLst/>
            <a:cxnLst/>
            <a:rect l="l" t="t" r="r" b="b"/>
            <a:pathLst>
              <a:path w="196850" h="271144">
                <a:moveTo>
                  <a:pt x="41810" y="0"/>
                </a:moveTo>
                <a:lnTo>
                  <a:pt x="4251" y="0"/>
                </a:lnTo>
                <a:lnTo>
                  <a:pt x="0" y="4251"/>
                </a:lnTo>
                <a:lnTo>
                  <a:pt x="0" y="266777"/>
                </a:lnTo>
                <a:lnTo>
                  <a:pt x="4251" y="271038"/>
                </a:lnTo>
                <a:lnTo>
                  <a:pt x="35632" y="271038"/>
                </a:lnTo>
                <a:lnTo>
                  <a:pt x="40271" y="266777"/>
                </a:lnTo>
                <a:lnTo>
                  <a:pt x="39883" y="261353"/>
                </a:lnTo>
                <a:lnTo>
                  <a:pt x="39108" y="67369"/>
                </a:lnTo>
                <a:lnTo>
                  <a:pt x="82623" y="67369"/>
                </a:lnTo>
                <a:lnTo>
                  <a:pt x="50344" y="8512"/>
                </a:lnTo>
                <a:lnTo>
                  <a:pt x="47632" y="3486"/>
                </a:lnTo>
                <a:lnTo>
                  <a:pt x="41810" y="0"/>
                </a:lnTo>
                <a:close/>
              </a:path>
              <a:path w="196850" h="271144">
                <a:moveTo>
                  <a:pt x="82623" y="67369"/>
                </a:moveTo>
                <a:lnTo>
                  <a:pt x="39108" y="67369"/>
                </a:lnTo>
                <a:lnTo>
                  <a:pt x="145597" y="262526"/>
                </a:lnTo>
                <a:lnTo>
                  <a:pt x="148299" y="267552"/>
                </a:lnTo>
                <a:lnTo>
                  <a:pt x="154110" y="271038"/>
                </a:lnTo>
                <a:lnTo>
                  <a:pt x="192444" y="271038"/>
                </a:lnTo>
                <a:lnTo>
                  <a:pt x="196695" y="266777"/>
                </a:lnTo>
                <a:lnTo>
                  <a:pt x="196695" y="204056"/>
                </a:lnTo>
                <a:lnTo>
                  <a:pt x="157586" y="204056"/>
                </a:lnTo>
                <a:lnTo>
                  <a:pt x="82623" y="67369"/>
                </a:lnTo>
                <a:close/>
              </a:path>
              <a:path w="196850" h="271144">
                <a:moveTo>
                  <a:pt x="192444" y="0"/>
                </a:moveTo>
                <a:lnTo>
                  <a:pt x="161073" y="0"/>
                </a:lnTo>
                <a:lnTo>
                  <a:pt x="156822" y="4251"/>
                </a:lnTo>
                <a:lnTo>
                  <a:pt x="156822" y="9675"/>
                </a:lnTo>
                <a:lnTo>
                  <a:pt x="157586" y="204056"/>
                </a:lnTo>
                <a:lnTo>
                  <a:pt x="196695" y="204056"/>
                </a:lnTo>
                <a:lnTo>
                  <a:pt x="196695" y="4251"/>
                </a:lnTo>
                <a:lnTo>
                  <a:pt x="19244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3" name="object 3"/>
          <p:cNvSpPr/>
          <p:nvPr/>
        </p:nvSpPr>
        <p:spPr>
          <a:xfrm>
            <a:off x="10538446" y="683083"/>
            <a:ext cx="98577" cy="134002"/>
          </a:xfrm>
          <a:custGeom>
            <a:avLst/>
            <a:gdLst/>
            <a:ahLst/>
            <a:cxnLst/>
            <a:rect l="l" t="t" r="r" b="b"/>
            <a:pathLst>
              <a:path w="162559" h="220980">
                <a:moveTo>
                  <a:pt x="34082" y="0"/>
                </a:moveTo>
                <a:lnTo>
                  <a:pt x="4272" y="0"/>
                </a:lnTo>
                <a:lnTo>
                  <a:pt x="0" y="4261"/>
                </a:lnTo>
                <a:lnTo>
                  <a:pt x="0" y="147524"/>
                </a:lnTo>
                <a:lnTo>
                  <a:pt x="3448" y="179212"/>
                </a:lnTo>
                <a:lnTo>
                  <a:pt x="14811" y="202118"/>
                </a:lnTo>
                <a:lnTo>
                  <a:pt x="35613" y="216022"/>
                </a:lnTo>
                <a:lnTo>
                  <a:pt x="67380" y="220705"/>
                </a:lnTo>
                <a:lnTo>
                  <a:pt x="83700" y="218828"/>
                </a:lnTo>
                <a:lnTo>
                  <a:pt x="99226" y="213539"/>
                </a:lnTo>
                <a:lnTo>
                  <a:pt x="113446" y="205346"/>
                </a:lnTo>
                <a:lnTo>
                  <a:pt x="125849" y="194758"/>
                </a:lnTo>
                <a:lnTo>
                  <a:pt x="162246" y="194758"/>
                </a:lnTo>
                <a:lnTo>
                  <a:pt x="162246" y="187795"/>
                </a:lnTo>
                <a:lnTo>
                  <a:pt x="74730" y="187795"/>
                </a:lnTo>
                <a:lnTo>
                  <a:pt x="56636" y="185126"/>
                </a:lnTo>
                <a:lnTo>
                  <a:pt x="45507" y="176901"/>
                </a:lnTo>
                <a:lnTo>
                  <a:pt x="39893" y="162797"/>
                </a:lnTo>
                <a:lnTo>
                  <a:pt x="38344" y="142487"/>
                </a:lnTo>
                <a:lnTo>
                  <a:pt x="38344" y="4261"/>
                </a:lnTo>
                <a:lnTo>
                  <a:pt x="34082" y="0"/>
                </a:lnTo>
                <a:close/>
              </a:path>
              <a:path w="162559" h="220980">
                <a:moveTo>
                  <a:pt x="162246" y="194758"/>
                </a:moveTo>
                <a:lnTo>
                  <a:pt x="125849" y="194758"/>
                </a:lnTo>
                <a:lnTo>
                  <a:pt x="127001" y="207155"/>
                </a:lnTo>
                <a:lnTo>
                  <a:pt x="127388" y="212579"/>
                </a:lnTo>
                <a:lnTo>
                  <a:pt x="132435" y="216831"/>
                </a:lnTo>
                <a:lnTo>
                  <a:pt x="157974" y="216831"/>
                </a:lnTo>
                <a:lnTo>
                  <a:pt x="162246" y="212579"/>
                </a:lnTo>
                <a:lnTo>
                  <a:pt x="162246" y="194758"/>
                </a:lnTo>
                <a:close/>
              </a:path>
              <a:path w="162559" h="220980">
                <a:moveTo>
                  <a:pt x="157974" y="0"/>
                </a:moveTo>
                <a:lnTo>
                  <a:pt x="128174" y="0"/>
                </a:lnTo>
                <a:lnTo>
                  <a:pt x="123901" y="4261"/>
                </a:lnTo>
                <a:lnTo>
                  <a:pt x="123901" y="161461"/>
                </a:lnTo>
                <a:lnTo>
                  <a:pt x="114207" y="171291"/>
                </a:lnTo>
                <a:lnTo>
                  <a:pt x="102371" y="179709"/>
                </a:lnTo>
                <a:lnTo>
                  <a:pt x="89007" y="185585"/>
                </a:lnTo>
                <a:lnTo>
                  <a:pt x="74730" y="187795"/>
                </a:lnTo>
                <a:lnTo>
                  <a:pt x="162246" y="187795"/>
                </a:lnTo>
                <a:lnTo>
                  <a:pt x="162246" y="4261"/>
                </a:lnTo>
                <a:lnTo>
                  <a:pt x="15797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object 4"/>
          <p:cNvSpPr/>
          <p:nvPr/>
        </p:nvSpPr>
        <p:spPr>
          <a:xfrm>
            <a:off x="10661021" y="650211"/>
            <a:ext cx="79323" cy="167503"/>
          </a:xfrm>
          <a:custGeom>
            <a:avLst/>
            <a:gdLst/>
            <a:ahLst/>
            <a:cxnLst/>
            <a:rect l="l" t="t" r="r" b="b"/>
            <a:pathLst>
              <a:path w="130809" h="276225">
                <a:moveTo>
                  <a:pt x="61568" y="85191"/>
                </a:moveTo>
                <a:lnTo>
                  <a:pt x="23234" y="85191"/>
                </a:lnTo>
                <a:lnTo>
                  <a:pt x="23234" y="201732"/>
                </a:lnTo>
                <a:lnTo>
                  <a:pt x="27875" y="234419"/>
                </a:lnTo>
                <a:lnTo>
                  <a:pt x="41773" y="257633"/>
                </a:lnTo>
                <a:lnTo>
                  <a:pt x="64891" y="271482"/>
                </a:lnTo>
                <a:lnTo>
                  <a:pt x="97190" y="276075"/>
                </a:lnTo>
                <a:lnTo>
                  <a:pt x="104153" y="276075"/>
                </a:lnTo>
                <a:lnTo>
                  <a:pt x="112677" y="274913"/>
                </a:lnTo>
                <a:lnTo>
                  <a:pt x="120425" y="273363"/>
                </a:lnTo>
                <a:lnTo>
                  <a:pt x="125839" y="272588"/>
                </a:lnTo>
                <a:lnTo>
                  <a:pt x="130488" y="267164"/>
                </a:lnTo>
                <a:lnTo>
                  <a:pt x="130488" y="245102"/>
                </a:lnTo>
                <a:lnTo>
                  <a:pt x="129422" y="244327"/>
                </a:lnTo>
                <a:lnTo>
                  <a:pt x="101054" y="244327"/>
                </a:lnTo>
                <a:lnTo>
                  <a:pt x="83452" y="241611"/>
                </a:lnTo>
                <a:lnTo>
                  <a:pt x="71149" y="233341"/>
                </a:lnTo>
                <a:lnTo>
                  <a:pt x="63927" y="219333"/>
                </a:lnTo>
                <a:lnTo>
                  <a:pt x="61568" y="199407"/>
                </a:lnTo>
                <a:lnTo>
                  <a:pt x="61568" y="85191"/>
                </a:lnTo>
                <a:close/>
              </a:path>
              <a:path w="130809" h="276225">
                <a:moveTo>
                  <a:pt x="126226" y="242003"/>
                </a:moveTo>
                <a:lnTo>
                  <a:pt x="121200" y="242777"/>
                </a:lnTo>
                <a:lnTo>
                  <a:pt x="114226" y="243940"/>
                </a:lnTo>
                <a:lnTo>
                  <a:pt x="107253" y="244327"/>
                </a:lnTo>
                <a:lnTo>
                  <a:pt x="129422" y="244327"/>
                </a:lnTo>
                <a:lnTo>
                  <a:pt x="126226" y="242003"/>
                </a:lnTo>
                <a:close/>
              </a:path>
              <a:path w="130809" h="276225">
                <a:moveTo>
                  <a:pt x="119650" y="54218"/>
                </a:moveTo>
                <a:lnTo>
                  <a:pt x="4649" y="54218"/>
                </a:lnTo>
                <a:lnTo>
                  <a:pt x="0" y="58469"/>
                </a:lnTo>
                <a:lnTo>
                  <a:pt x="0" y="80929"/>
                </a:lnTo>
                <a:lnTo>
                  <a:pt x="4649" y="85191"/>
                </a:lnTo>
                <a:lnTo>
                  <a:pt x="119650" y="85191"/>
                </a:lnTo>
                <a:lnTo>
                  <a:pt x="124289" y="80929"/>
                </a:lnTo>
                <a:lnTo>
                  <a:pt x="124289" y="58469"/>
                </a:lnTo>
                <a:lnTo>
                  <a:pt x="119650" y="54218"/>
                </a:lnTo>
                <a:close/>
              </a:path>
              <a:path w="130809" h="276225">
                <a:moveTo>
                  <a:pt x="57307" y="0"/>
                </a:moveTo>
                <a:lnTo>
                  <a:pt x="32522" y="0"/>
                </a:lnTo>
                <a:lnTo>
                  <a:pt x="27883" y="4261"/>
                </a:lnTo>
                <a:lnTo>
                  <a:pt x="27496" y="9685"/>
                </a:lnTo>
                <a:lnTo>
                  <a:pt x="24009" y="54218"/>
                </a:lnTo>
                <a:lnTo>
                  <a:pt x="61568" y="54218"/>
                </a:lnTo>
                <a:lnTo>
                  <a:pt x="61568" y="4261"/>
                </a:lnTo>
                <a:lnTo>
                  <a:pt x="5730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object 5"/>
          <p:cNvSpPr/>
          <p:nvPr/>
        </p:nvSpPr>
        <p:spPr>
          <a:xfrm>
            <a:off x="10769509" y="680972"/>
            <a:ext cx="58530" cy="133617"/>
          </a:xfrm>
          <a:custGeom>
            <a:avLst/>
            <a:gdLst/>
            <a:ahLst/>
            <a:cxnLst/>
            <a:rect l="l" t="t" r="r" b="b"/>
            <a:pathLst>
              <a:path w="96519" h="220344">
                <a:moveTo>
                  <a:pt x="29025" y="3486"/>
                </a:moveTo>
                <a:lnTo>
                  <a:pt x="4251" y="3486"/>
                </a:lnTo>
                <a:lnTo>
                  <a:pt x="0" y="7748"/>
                </a:lnTo>
                <a:lnTo>
                  <a:pt x="0" y="216056"/>
                </a:lnTo>
                <a:lnTo>
                  <a:pt x="4251" y="220317"/>
                </a:lnTo>
                <a:lnTo>
                  <a:pt x="34072" y="220317"/>
                </a:lnTo>
                <a:lnTo>
                  <a:pt x="38323" y="216056"/>
                </a:lnTo>
                <a:lnTo>
                  <a:pt x="38323" y="63495"/>
                </a:lnTo>
                <a:lnTo>
                  <a:pt x="48078" y="51384"/>
                </a:lnTo>
                <a:lnTo>
                  <a:pt x="60588" y="42104"/>
                </a:lnTo>
                <a:lnTo>
                  <a:pt x="74259" y="36164"/>
                </a:lnTo>
                <a:lnTo>
                  <a:pt x="87494" y="34072"/>
                </a:lnTo>
                <a:lnTo>
                  <a:pt x="92531" y="34072"/>
                </a:lnTo>
                <a:lnTo>
                  <a:pt x="96018" y="30972"/>
                </a:lnTo>
                <a:lnTo>
                  <a:pt x="96018" y="29810"/>
                </a:lnTo>
                <a:lnTo>
                  <a:pt x="36386" y="29810"/>
                </a:lnTo>
                <a:lnTo>
                  <a:pt x="34836" y="13161"/>
                </a:lnTo>
                <a:lnTo>
                  <a:pt x="34072" y="7748"/>
                </a:lnTo>
                <a:lnTo>
                  <a:pt x="29025" y="3486"/>
                </a:lnTo>
                <a:close/>
              </a:path>
              <a:path w="96519" h="220344">
                <a:moveTo>
                  <a:pt x="92531" y="0"/>
                </a:moveTo>
                <a:lnTo>
                  <a:pt x="87107" y="0"/>
                </a:lnTo>
                <a:lnTo>
                  <a:pt x="74663" y="2153"/>
                </a:lnTo>
                <a:lnTo>
                  <a:pt x="60439" y="8226"/>
                </a:lnTo>
                <a:lnTo>
                  <a:pt x="46869" y="17638"/>
                </a:lnTo>
                <a:lnTo>
                  <a:pt x="36386" y="29810"/>
                </a:lnTo>
                <a:lnTo>
                  <a:pt x="96018" y="29810"/>
                </a:lnTo>
                <a:lnTo>
                  <a:pt x="96018" y="3099"/>
                </a:lnTo>
                <a:lnTo>
                  <a:pt x="9253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6" name="object 6"/>
          <p:cNvSpPr/>
          <p:nvPr/>
        </p:nvSpPr>
        <p:spPr>
          <a:xfrm>
            <a:off x="10853097" y="638476"/>
            <a:ext cx="28495" cy="176360"/>
          </a:xfrm>
          <a:custGeom>
            <a:avLst/>
            <a:gdLst/>
            <a:ahLst/>
            <a:cxnLst/>
            <a:rect l="l" t="t" r="r" b="b"/>
            <a:pathLst>
              <a:path w="46990" h="290830">
                <a:moveTo>
                  <a:pt x="22847" y="0"/>
                </a:moveTo>
                <a:lnTo>
                  <a:pt x="13557" y="1348"/>
                </a:lnTo>
                <a:lnTo>
                  <a:pt x="6338" y="5562"/>
                </a:lnTo>
                <a:lnTo>
                  <a:pt x="1663" y="12898"/>
                </a:lnTo>
                <a:lnTo>
                  <a:pt x="0" y="23611"/>
                </a:lnTo>
                <a:lnTo>
                  <a:pt x="1663" y="33818"/>
                </a:lnTo>
                <a:lnTo>
                  <a:pt x="6338" y="40794"/>
                </a:lnTo>
                <a:lnTo>
                  <a:pt x="13557" y="44794"/>
                </a:lnTo>
                <a:lnTo>
                  <a:pt x="22847" y="46071"/>
                </a:lnTo>
                <a:lnTo>
                  <a:pt x="32640" y="44794"/>
                </a:lnTo>
                <a:lnTo>
                  <a:pt x="40218" y="40794"/>
                </a:lnTo>
                <a:lnTo>
                  <a:pt x="45111" y="33818"/>
                </a:lnTo>
                <a:lnTo>
                  <a:pt x="46846" y="23611"/>
                </a:lnTo>
                <a:lnTo>
                  <a:pt x="45111" y="12898"/>
                </a:lnTo>
                <a:lnTo>
                  <a:pt x="40218" y="5562"/>
                </a:lnTo>
                <a:lnTo>
                  <a:pt x="32640" y="1348"/>
                </a:lnTo>
                <a:lnTo>
                  <a:pt x="22847" y="0"/>
                </a:lnTo>
                <a:close/>
              </a:path>
              <a:path w="46990" h="290830">
                <a:moveTo>
                  <a:pt x="38721" y="73568"/>
                </a:moveTo>
                <a:lnTo>
                  <a:pt x="8910" y="73568"/>
                </a:lnTo>
                <a:lnTo>
                  <a:pt x="4649" y="77819"/>
                </a:lnTo>
                <a:lnTo>
                  <a:pt x="4649" y="286137"/>
                </a:lnTo>
                <a:lnTo>
                  <a:pt x="8910" y="290399"/>
                </a:lnTo>
                <a:lnTo>
                  <a:pt x="38721" y="290399"/>
                </a:lnTo>
                <a:lnTo>
                  <a:pt x="42982" y="286137"/>
                </a:lnTo>
                <a:lnTo>
                  <a:pt x="42982" y="77819"/>
                </a:lnTo>
                <a:lnTo>
                  <a:pt x="38721" y="7356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7" name="object 7"/>
          <p:cNvSpPr/>
          <p:nvPr/>
        </p:nvSpPr>
        <p:spPr>
          <a:xfrm>
            <a:off x="10918848" y="638473"/>
            <a:ext cx="23489" cy="176360"/>
          </a:xfrm>
          <a:custGeom>
            <a:avLst/>
            <a:gdLst/>
            <a:ahLst/>
            <a:cxnLst/>
            <a:rect l="l" t="t" r="r" b="b"/>
            <a:pathLst>
              <a:path w="38734" h="290830">
                <a:moveTo>
                  <a:pt x="34072" y="0"/>
                </a:moveTo>
                <a:lnTo>
                  <a:pt x="4261" y="0"/>
                </a:lnTo>
                <a:lnTo>
                  <a:pt x="0" y="4251"/>
                </a:lnTo>
                <a:lnTo>
                  <a:pt x="0" y="286137"/>
                </a:lnTo>
                <a:lnTo>
                  <a:pt x="4261" y="290399"/>
                </a:lnTo>
                <a:lnTo>
                  <a:pt x="34072" y="290399"/>
                </a:lnTo>
                <a:lnTo>
                  <a:pt x="38333" y="286137"/>
                </a:lnTo>
                <a:lnTo>
                  <a:pt x="38333" y="4251"/>
                </a:lnTo>
                <a:lnTo>
                  <a:pt x="3407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8" name="object 8"/>
          <p:cNvSpPr/>
          <p:nvPr/>
        </p:nvSpPr>
        <p:spPr>
          <a:xfrm>
            <a:off x="10977080" y="680740"/>
            <a:ext cx="102427" cy="136313"/>
          </a:xfrm>
          <a:custGeom>
            <a:avLst/>
            <a:gdLst/>
            <a:ahLst/>
            <a:cxnLst/>
            <a:rect l="l" t="t" r="r" b="b"/>
            <a:pathLst>
              <a:path w="168909" h="224790">
                <a:moveTo>
                  <a:pt x="84416" y="0"/>
                </a:moveTo>
                <a:lnTo>
                  <a:pt x="49333" y="5498"/>
                </a:lnTo>
                <a:lnTo>
                  <a:pt x="22747" y="21342"/>
                </a:lnTo>
                <a:lnTo>
                  <a:pt x="5892" y="46550"/>
                </a:lnTo>
                <a:lnTo>
                  <a:pt x="0" y="80144"/>
                </a:lnTo>
                <a:lnTo>
                  <a:pt x="0" y="144424"/>
                </a:lnTo>
                <a:lnTo>
                  <a:pt x="5892" y="178018"/>
                </a:lnTo>
                <a:lnTo>
                  <a:pt x="22747" y="203226"/>
                </a:lnTo>
                <a:lnTo>
                  <a:pt x="49333" y="219070"/>
                </a:lnTo>
                <a:lnTo>
                  <a:pt x="84416" y="224569"/>
                </a:lnTo>
                <a:lnTo>
                  <a:pt x="119651" y="219070"/>
                </a:lnTo>
                <a:lnTo>
                  <a:pt x="146216" y="203226"/>
                </a:lnTo>
                <a:lnTo>
                  <a:pt x="153395" y="192433"/>
                </a:lnTo>
                <a:lnTo>
                  <a:pt x="84416" y="192433"/>
                </a:lnTo>
                <a:lnTo>
                  <a:pt x="64798" y="189051"/>
                </a:lnTo>
                <a:lnTo>
                  <a:pt x="50337" y="179027"/>
                </a:lnTo>
                <a:lnTo>
                  <a:pt x="41395" y="162541"/>
                </a:lnTo>
                <a:lnTo>
                  <a:pt x="38333" y="139775"/>
                </a:lnTo>
                <a:lnTo>
                  <a:pt x="38333" y="84793"/>
                </a:lnTo>
                <a:lnTo>
                  <a:pt x="41395" y="62023"/>
                </a:lnTo>
                <a:lnTo>
                  <a:pt x="50337" y="45537"/>
                </a:lnTo>
                <a:lnTo>
                  <a:pt x="64798" y="35515"/>
                </a:lnTo>
                <a:lnTo>
                  <a:pt x="84416" y="32135"/>
                </a:lnTo>
                <a:lnTo>
                  <a:pt x="153395" y="32135"/>
                </a:lnTo>
                <a:lnTo>
                  <a:pt x="146216" y="21342"/>
                </a:lnTo>
                <a:lnTo>
                  <a:pt x="119651" y="5498"/>
                </a:lnTo>
                <a:lnTo>
                  <a:pt x="84416" y="0"/>
                </a:lnTo>
                <a:close/>
              </a:path>
              <a:path w="168909" h="224790">
                <a:moveTo>
                  <a:pt x="153395" y="32135"/>
                </a:moveTo>
                <a:lnTo>
                  <a:pt x="84416" y="32135"/>
                </a:lnTo>
                <a:lnTo>
                  <a:pt x="104189" y="35515"/>
                </a:lnTo>
                <a:lnTo>
                  <a:pt x="118625" y="45537"/>
                </a:lnTo>
                <a:lnTo>
                  <a:pt x="127472" y="62023"/>
                </a:lnTo>
                <a:lnTo>
                  <a:pt x="130477" y="84793"/>
                </a:lnTo>
                <a:lnTo>
                  <a:pt x="130477" y="139775"/>
                </a:lnTo>
                <a:lnTo>
                  <a:pt x="127472" y="162541"/>
                </a:lnTo>
                <a:lnTo>
                  <a:pt x="118625" y="179027"/>
                </a:lnTo>
                <a:lnTo>
                  <a:pt x="104189" y="189051"/>
                </a:lnTo>
                <a:lnTo>
                  <a:pt x="84416" y="192433"/>
                </a:lnTo>
                <a:lnTo>
                  <a:pt x="153395" y="192433"/>
                </a:lnTo>
                <a:lnTo>
                  <a:pt x="162982" y="178018"/>
                </a:lnTo>
                <a:lnTo>
                  <a:pt x="168822" y="144424"/>
                </a:lnTo>
                <a:lnTo>
                  <a:pt x="168822" y="80144"/>
                </a:lnTo>
                <a:lnTo>
                  <a:pt x="162982" y="46550"/>
                </a:lnTo>
                <a:lnTo>
                  <a:pt x="153395" y="321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9" name="object 9"/>
          <p:cNvSpPr/>
          <p:nvPr/>
        </p:nvSpPr>
        <p:spPr>
          <a:xfrm>
            <a:off x="11104808" y="665477"/>
            <a:ext cx="100502" cy="186756"/>
          </a:xfrm>
          <a:custGeom>
            <a:avLst/>
            <a:gdLst/>
            <a:ahLst/>
            <a:cxnLst/>
            <a:rect l="l" t="t" r="r" b="b"/>
            <a:pathLst>
              <a:path w="165734" h="307975">
                <a:moveTo>
                  <a:pt x="23213" y="260756"/>
                </a:moveTo>
                <a:lnTo>
                  <a:pt x="17245" y="261562"/>
                </a:lnTo>
                <a:lnTo>
                  <a:pt x="2240" y="281279"/>
                </a:lnTo>
                <a:lnTo>
                  <a:pt x="2806" y="287551"/>
                </a:lnTo>
                <a:lnTo>
                  <a:pt x="6889" y="291142"/>
                </a:lnTo>
                <a:lnTo>
                  <a:pt x="9905" y="293844"/>
                </a:lnTo>
                <a:lnTo>
                  <a:pt x="20173" y="299951"/>
                </a:lnTo>
                <a:lnTo>
                  <a:pt x="32277" y="304320"/>
                </a:lnTo>
                <a:lnTo>
                  <a:pt x="46111" y="306946"/>
                </a:lnTo>
                <a:lnTo>
                  <a:pt x="61568" y="307823"/>
                </a:lnTo>
                <a:lnTo>
                  <a:pt x="93316" y="307823"/>
                </a:lnTo>
                <a:lnTo>
                  <a:pt x="123356" y="304053"/>
                </a:lnTo>
                <a:lnTo>
                  <a:pt x="146025" y="292769"/>
                </a:lnTo>
                <a:lnTo>
                  <a:pt x="157288" y="278012"/>
                </a:lnTo>
                <a:lnTo>
                  <a:pt x="65055" y="278012"/>
                </a:lnTo>
                <a:lnTo>
                  <a:pt x="54091" y="277275"/>
                </a:lnTo>
                <a:lnTo>
                  <a:pt x="45138" y="274882"/>
                </a:lnTo>
                <a:lnTo>
                  <a:pt x="36765" y="270560"/>
                </a:lnTo>
                <a:lnTo>
                  <a:pt x="27538" y="264033"/>
                </a:lnTo>
                <a:lnTo>
                  <a:pt x="23213" y="260756"/>
                </a:lnTo>
                <a:close/>
              </a:path>
              <a:path w="165734" h="307975">
                <a:moveTo>
                  <a:pt x="73568" y="25172"/>
                </a:moveTo>
                <a:lnTo>
                  <a:pt x="43122" y="29914"/>
                </a:lnTo>
                <a:lnTo>
                  <a:pt x="19939" y="42786"/>
                </a:lnTo>
                <a:lnTo>
                  <a:pt x="5178" y="61756"/>
                </a:lnTo>
                <a:lnTo>
                  <a:pt x="0" y="84793"/>
                </a:lnTo>
                <a:lnTo>
                  <a:pt x="0" y="109577"/>
                </a:lnTo>
                <a:lnTo>
                  <a:pt x="1542" y="121271"/>
                </a:lnTo>
                <a:lnTo>
                  <a:pt x="5951" y="132566"/>
                </a:lnTo>
                <a:lnTo>
                  <a:pt x="12903" y="142628"/>
                </a:lnTo>
                <a:lnTo>
                  <a:pt x="22072" y="150623"/>
                </a:lnTo>
                <a:lnTo>
                  <a:pt x="18228" y="156864"/>
                </a:lnTo>
                <a:lnTo>
                  <a:pt x="15438" y="163398"/>
                </a:lnTo>
                <a:lnTo>
                  <a:pt x="13736" y="170222"/>
                </a:lnTo>
                <a:lnTo>
                  <a:pt x="13161" y="177334"/>
                </a:lnTo>
                <a:lnTo>
                  <a:pt x="13161" y="185083"/>
                </a:lnTo>
                <a:lnTo>
                  <a:pt x="38562" y="216429"/>
                </a:lnTo>
                <a:lnTo>
                  <a:pt x="65055" y="220317"/>
                </a:lnTo>
                <a:lnTo>
                  <a:pt x="89442" y="220317"/>
                </a:lnTo>
                <a:lnTo>
                  <a:pt x="106093" y="221908"/>
                </a:lnTo>
                <a:lnTo>
                  <a:pt x="117806" y="226945"/>
                </a:lnTo>
                <a:lnTo>
                  <a:pt x="124727" y="235831"/>
                </a:lnTo>
                <a:lnTo>
                  <a:pt x="127001" y="248966"/>
                </a:lnTo>
                <a:lnTo>
                  <a:pt x="124727" y="262162"/>
                </a:lnTo>
                <a:lnTo>
                  <a:pt x="117806" y="271185"/>
                </a:lnTo>
                <a:lnTo>
                  <a:pt x="106093" y="276360"/>
                </a:lnTo>
                <a:lnTo>
                  <a:pt x="89442" y="278012"/>
                </a:lnTo>
                <a:lnTo>
                  <a:pt x="157288" y="278012"/>
                </a:lnTo>
                <a:lnTo>
                  <a:pt x="160344" y="274007"/>
                </a:lnTo>
                <a:lnTo>
                  <a:pt x="165335" y="247803"/>
                </a:lnTo>
                <a:lnTo>
                  <a:pt x="160555" y="223452"/>
                </a:lnTo>
                <a:lnTo>
                  <a:pt x="146845" y="205743"/>
                </a:lnTo>
                <a:lnTo>
                  <a:pt x="125150" y="194932"/>
                </a:lnTo>
                <a:lnTo>
                  <a:pt x="102498" y="192046"/>
                </a:lnTo>
                <a:lnTo>
                  <a:pt x="53432" y="192046"/>
                </a:lnTo>
                <a:lnTo>
                  <a:pt x="50333" y="188172"/>
                </a:lnTo>
                <a:lnTo>
                  <a:pt x="48019" y="183146"/>
                </a:lnTo>
                <a:lnTo>
                  <a:pt x="48019" y="171523"/>
                </a:lnTo>
                <a:lnTo>
                  <a:pt x="50333" y="166884"/>
                </a:lnTo>
                <a:lnTo>
                  <a:pt x="53820" y="163785"/>
                </a:lnTo>
                <a:lnTo>
                  <a:pt x="90273" y="163785"/>
                </a:lnTo>
                <a:lnTo>
                  <a:pt x="105376" y="161469"/>
                </a:lnTo>
                <a:lnTo>
                  <a:pt x="128157" y="149022"/>
                </a:lnTo>
                <a:lnTo>
                  <a:pt x="137987" y="136676"/>
                </a:lnTo>
                <a:lnTo>
                  <a:pt x="73568" y="136676"/>
                </a:lnTo>
                <a:lnTo>
                  <a:pt x="58630" y="134383"/>
                </a:lnTo>
                <a:lnTo>
                  <a:pt x="47286" y="127917"/>
                </a:lnTo>
                <a:lnTo>
                  <a:pt x="40081" y="117893"/>
                </a:lnTo>
                <a:lnTo>
                  <a:pt x="37559" y="104928"/>
                </a:lnTo>
                <a:lnTo>
                  <a:pt x="37559" y="87117"/>
                </a:lnTo>
                <a:lnTo>
                  <a:pt x="40081" y="74213"/>
                </a:lnTo>
                <a:lnTo>
                  <a:pt x="47288" y="64321"/>
                </a:lnTo>
                <a:lnTo>
                  <a:pt x="58630" y="57989"/>
                </a:lnTo>
                <a:lnTo>
                  <a:pt x="73568" y="55757"/>
                </a:lnTo>
                <a:lnTo>
                  <a:pt x="143748" y="55757"/>
                </a:lnTo>
                <a:lnTo>
                  <a:pt x="150352" y="50274"/>
                </a:lnTo>
                <a:lnTo>
                  <a:pt x="157830" y="40654"/>
                </a:lnTo>
                <a:lnTo>
                  <a:pt x="159634" y="36396"/>
                </a:lnTo>
                <a:lnTo>
                  <a:pt x="118101" y="36396"/>
                </a:lnTo>
                <a:lnTo>
                  <a:pt x="109016" y="31864"/>
                </a:lnTo>
                <a:lnTo>
                  <a:pt x="98300" y="28314"/>
                </a:lnTo>
                <a:lnTo>
                  <a:pt x="86351" y="25999"/>
                </a:lnTo>
                <a:lnTo>
                  <a:pt x="73568" y="25172"/>
                </a:lnTo>
                <a:close/>
              </a:path>
              <a:path w="165734" h="307975">
                <a:moveTo>
                  <a:pt x="96415" y="191271"/>
                </a:moveTo>
                <a:lnTo>
                  <a:pt x="61956" y="191271"/>
                </a:lnTo>
                <a:lnTo>
                  <a:pt x="57307" y="191659"/>
                </a:lnTo>
                <a:lnTo>
                  <a:pt x="53432" y="192046"/>
                </a:lnTo>
                <a:lnTo>
                  <a:pt x="102498" y="192046"/>
                </a:lnTo>
                <a:lnTo>
                  <a:pt x="96415" y="191271"/>
                </a:lnTo>
                <a:close/>
              </a:path>
              <a:path w="165734" h="307975">
                <a:moveTo>
                  <a:pt x="90273" y="163785"/>
                </a:moveTo>
                <a:lnTo>
                  <a:pt x="53820" y="163785"/>
                </a:lnTo>
                <a:lnTo>
                  <a:pt x="60019" y="165335"/>
                </a:lnTo>
                <a:lnTo>
                  <a:pt x="67757" y="166110"/>
                </a:lnTo>
                <a:lnTo>
                  <a:pt x="75118" y="166110"/>
                </a:lnTo>
                <a:lnTo>
                  <a:pt x="90273" y="163785"/>
                </a:lnTo>
                <a:close/>
              </a:path>
              <a:path w="165734" h="307975">
                <a:moveTo>
                  <a:pt x="143748" y="55757"/>
                </a:moveTo>
                <a:lnTo>
                  <a:pt x="73568" y="55757"/>
                </a:lnTo>
                <a:lnTo>
                  <a:pt x="88730" y="57989"/>
                </a:lnTo>
                <a:lnTo>
                  <a:pt x="100189" y="64322"/>
                </a:lnTo>
                <a:lnTo>
                  <a:pt x="107436" y="74213"/>
                </a:lnTo>
                <a:lnTo>
                  <a:pt x="109965" y="87117"/>
                </a:lnTo>
                <a:lnTo>
                  <a:pt x="109965" y="104928"/>
                </a:lnTo>
                <a:lnTo>
                  <a:pt x="107436" y="117893"/>
                </a:lnTo>
                <a:lnTo>
                  <a:pt x="100189" y="127917"/>
                </a:lnTo>
                <a:lnTo>
                  <a:pt x="88730" y="134383"/>
                </a:lnTo>
                <a:lnTo>
                  <a:pt x="73568" y="136676"/>
                </a:lnTo>
                <a:lnTo>
                  <a:pt x="137987" y="136676"/>
                </a:lnTo>
                <a:lnTo>
                  <a:pt x="142517" y="130987"/>
                </a:lnTo>
                <a:lnTo>
                  <a:pt x="147513" y="109577"/>
                </a:lnTo>
                <a:lnTo>
                  <a:pt x="147513" y="84793"/>
                </a:lnTo>
                <a:lnTo>
                  <a:pt x="147085" y="78111"/>
                </a:lnTo>
                <a:lnTo>
                  <a:pt x="145825" y="71143"/>
                </a:lnTo>
                <a:lnTo>
                  <a:pt x="143767" y="64321"/>
                </a:lnTo>
                <a:lnTo>
                  <a:pt x="140948" y="58082"/>
                </a:lnTo>
                <a:lnTo>
                  <a:pt x="143748" y="55757"/>
                </a:lnTo>
                <a:close/>
              </a:path>
              <a:path w="165734" h="307975">
                <a:moveTo>
                  <a:pt x="160298" y="0"/>
                </a:moveTo>
                <a:lnTo>
                  <a:pt x="132812" y="0"/>
                </a:lnTo>
                <a:lnTo>
                  <a:pt x="129713" y="2711"/>
                </a:lnTo>
                <a:lnTo>
                  <a:pt x="129713" y="10062"/>
                </a:lnTo>
                <a:lnTo>
                  <a:pt x="128987" y="18422"/>
                </a:lnTo>
                <a:lnTo>
                  <a:pt x="126808" y="25550"/>
                </a:lnTo>
                <a:lnTo>
                  <a:pt x="123179" y="31517"/>
                </a:lnTo>
                <a:lnTo>
                  <a:pt x="118101" y="36396"/>
                </a:lnTo>
                <a:lnTo>
                  <a:pt x="159634" y="36396"/>
                </a:lnTo>
                <a:lnTo>
                  <a:pt x="162767" y="29002"/>
                </a:lnTo>
                <a:lnTo>
                  <a:pt x="164549" y="15099"/>
                </a:lnTo>
                <a:lnTo>
                  <a:pt x="164549" y="13161"/>
                </a:lnTo>
                <a:lnTo>
                  <a:pt x="164173" y="8900"/>
                </a:lnTo>
                <a:lnTo>
                  <a:pt x="163785" y="7748"/>
                </a:lnTo>
                <a:lnTo>
                  <a:pt x="163398" y="3099"/>
                </a:lnTo>
                <a:lnTo>
                  <a:pt x="1602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0" name="object 10"/>
          <p:cNvSpPr/>
          <p:nvPr/>
        </p:nvSpPr>
        <p:spPr>
          <a:xfrm>
            <a:off x="11228551" y="638476"/>
            <a:ext cx="28495" cy="176360"/>
          </a:xfrm>
          <a:custGeom>
            <a:avLst/>
            <a:gdLst/>
            <a:ahLst/>
            <a:cxnLst/>
            <a:rect l="l" t="t" r="r" b="b"/>
            <a:pathLst>
              <a:path w="46990" h="290830">
                <a:moveTo>
                  <a:pt x="22847" y="0"/>
                </a:moveTo>
                <a:lnTo>
                  <a:pt x="13557" y="1348"/>
                </a:lnTo>
                <a:lnTo>
                  <a:pt x="6338" y="5562"/>
                </a:lnTo>
                <a:lnTo>
                  <a:pt x="1663" y="12898"/>
                </a:lnTo>
                <a:lnTo>
                  <a:pt x="0" y="23611"/>
                </a:lnTo>
                <a:lnTo>
                  <a:pt x="1663" y="33818"/>
                </a:lnTo>
                <a:lnTo>
                  <a:pt x="6338" y="40794"/>
                </a:lnTo>
                <a:lnTo>
                  <a:pt x="13557" y="44794"/>
                </a:lnTo>
                <a:lnTo>
                  <a:pt x="22847" y="46071"/>
                </a:lnTo>
                <a:lnTo>
                  <a:pt x="32640" y="44794"/>
                </a:lnTo>
                <a:lnTo>
                  <a:pt x="40218" y="40794"/>
                </a:lnTo>
                <a:lnTo>
                  <a:pt x="45111" y="33818"/>
                </a:lnTo>
                <a:lnTo>
                  <a:pt x="46846" y="23611"/>
                </a:lnTo>
                <a:lnTo>
                  <a:pt x="45111" y="12898"/>
                </a:lnTo>
                <a:lnTo>
                  <a:pt x="40218" y="5562"/>
                </a:lnTo>
                <a:lnTo>
                  <a:pt x="32640" y="1348"/>
                </a:lnTo>
                <a:lnTo>
                  <a:pt x="22847" y="0"/>
                </a:lnTo>
                <a:close/>
              </a:path>
              <a:path w="46990" h="290830">
                <a:moveTo>
                  <a:pt x="38721" y="73568"/>
                </a:moveTo>
                <a:lnTo>
                  <a:pt x="8910" y="73568"/>
                </a:lnTo>
                <a:lnTo>
                  <a:pt x="4649" y="77819"/>
                </a:lnTo>
                <a:lnTo>
                  <a:pt x="4649" y="286137"/>
                </a:lnTo>
                <a:lnTo>
                  <a:pt x="8910" y="290399"/>
                </a:lnTo>
                <a:lnTo>
                  <a:pt x="38721" y="290399"/>
                </a:lnTo>
                <a:lnTo>
                  <a:pt x="42982" y="286137"/>
                </a:lnTo>
                <a:lnTo>
                  <a:pt x="42982" y="77819"/>
                </a:lnTo>
                <a:lnTo>
                  <a:pt x="38721" y="7356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1" name="object 11"/>
          <p:cNvSpPr/>
          <p:nvPr/>
        </p:nvSpPr>
        <p:spPr>
          <a:xfrm>
            <a:off x="11291478" y="680740"/>
            <a:ext cx="102042" cy="136313"/>
          </a:xfrm>
          <a:custGeom>
            <a:avLst/>
            <a:gdLst/>
            <a:ahLst/>
            <a:cxnLst/>
            <a:rect l="l" t="t" r="r" b="b"/>
            <a:pathLst>
              <a:path w="168275" h="224790">
                <a:moveTo>
                  <a:pt x="84416" y="0"/>
                </a:moveTo>
                <a:lnTo>
                  <a:pt x="49337" y="5498"/>
                </a:lnTo>
                <a:lnTo>
                  <a:pt x="22751" y="21342"/>
                </a:lnTo>
                <a:lnTo>
                  <a:pt x="5893" y="46550"/>
                </a:lnTo>
                <a:lnTo>
                  <a:pt x="0" y="80144"/>
                </a:lnTo>
                <a:lnTo>
                  <a:pt x="0" y="144424"/>
                </a:lnTo>
                <a:lnTo>
                  <a:pt x="5893" y="178018"/>
                </a:lnTo>
                <a:lnTo>
                  <a:pt x="22751" y="203226"/>
                </a:lnTo>
                <a:lnTo>
                  <a:pt x="49337" y="219070"/>
                </a:lnTo>
                <a:lnTo>
                  <a:pt x="84416" y="224569"/>
                </a:lnTo>
                <a:lnTo>
                  <a:pt x="120046" y="219070"/>
                </a:lnTo>
                <a:lnTo>
                  <a:pt x="146269" y="204194"/>
                </a:lnTo>
                <a:lnTo>
                  <a:pt x="155256" y="192046"/>
                </a:lnTo>
                <a:lnTo>
                  <a:pt x="84416" y="192046"/>
                </a:lnTo>
                <a:lnTo>
                  <a:pt x="64798" y="188725"/>
                </a:lnTo>
                <a:lnTo>
                  <a:pt x="50337" y="178833"/>
                </a:lnTo>
                <a:lnTo>
                  <a:pt x="41395" y="162480"/>
                </a:lnTo>
                <a:lnTo>
                  <a:pt x="38333" y="139775"/>
                </a:lnTo>
                <a:lnTo>
                  <a:pt x="38333" y="84793"/>
                </a:lnTo>
                <a:lnTo>
                  <a:pt x="41395" y="62083"/>
                </a:lnTo>
                <a:lnTo>
                  <a:pt x="50337" y="45731"/>
                </a:lnTo>
                <a:lnTo>
                  <a:pt x="64798" y="35842"/>
                </a:lnTo>
                <a:lnTo>
                  <a:pt x="84416" y="32522"/>
                </a:lnTo>
                <a:lnTo>
                  <a:pt x="155833" y="32522"/>
                </a:lnTo>
                <a:lnTo>
                  <a:pt x="146269" y="19648"/>
                </a:lnTo>
                <a:lnTo>
                  <a:pt x="120025" y="5214"/>
                </a:lnTo>
                <a:lnTo>
                  <a:pt x="84416" y="0"/>
                </a:lnTo>
                <a:close/>
              </a:path>
              <a:path w="168275" h="224790">
                <a:moveTo>
                  <a:pt x="163796" y="146351"/>
                </a:moveTo>
                <a:lnTo>
                  <a:pt x="133200" y="146351"/>
                </a:lnTo>
                <a:lnTo>
                  <a:pt x="129723" y="149838"/>
                </a:lnTo>
                <a:lnTo>
                  <a:pt x="129723" y="155649"/>
                </a:lnTo>
                <a:lnTo>
                  <a:pt x="127054" y="169667"/>
                </a:lnTo>
                <a:lnTo>
                  <a:pt x="118830" y="181253"/>
                </a:lnTo>
                <a:lnTo>
                  <a:pt x="104725" y="189136"/>
                </a:lnTo>
                <a:lnTo>
                  <a:pt x="84416" y="192046"/>
                </a:lnTo>
                <a:lnTo>
                  <a:pt x="155256" y="192046"/>
                </a:lnTo>
                <a:lnTo>
                  <a:pt x="162493" y="182263"/>
                </a:lnTo>
                <a:lnTo>
                  <a:pt x="168047" y="155649"/>
                </a:lnTo>
                <a:lnTo>
                  <a:pt x="168047" y="150225"/>
                </a:lnTo>
                <a:lnTo>
                  <a:pt x="163796" y="146351"/>
                </a:lnTo>
                <a:close/>
              </a:path>
              <a:path w="168275" h="224790">
                <a:moveTo>
                  <a:pt x="155833" y="32522"/>
                </a:moveTo>
                <a:lnTo>
                  <a:pt x="84416" y="32522"/>
                </a:lnTo>
                <a:lnTo>
                  <a:pt x="104235" y="35329"/>
                </a:lnTo>
                <a:lnTo>
                  <a:pt x="118394" y="43073"/>
                </a:lnTo>
                <a:lnTo>
                  <a:pt x="126891" y="54737"/>
                </a:lnTo>
                <a:lnTo>
                  <a:pt x="129648" y="68919"/>
                </a:lnTo>
                <a:lnTo>
                  <a:pt x="129723" y="74720"/>
                </a:lnTo>
                <a:lnTo>
                  <a:pt x="133200" y="78594"/>
                </a:lnTo>
                <a:lnTo>
                  <a:pt x="164173" y="78594"/>
                </a:lnTo>
                <a:lnTo>
                  <a:pt x="168047" y="74720"/>
                </a:lnTo>
                <a:lnTo>
                  <a:pt x="168047" y="68919"/>
                </a:lnTo>
                <a:lnTo>
                  <a:pt x="162493" y="41488"/>
                </a:lnTo>
                <a:lnTo>
                  <a:pt x="155833" y="325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2" name="object 12"/>
          <p:cNvSpPr/>
          <p:nvPr/>
        </p:nvSpPr>
        <p:spPr>
          <a:xfrm>
            <a:off x="9802109" y="509488"/>
            <a:ext cx="432785" cy="43278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3" name="object 13"/>
          <p:cNvSpPr txBox="1">
            <a:spLocks noGrp="1"/>
          </p:cNvSpPr>
          <p:nvPr>
            <p:ph type="title"/>
          </p:nvPr>
        </p:nvSpPr>
        <p:spPr>
          <a:xfrm>
            <a:off x="637671" y="450077"/>
            <a:ext cx="7358487" cy="5366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/>
            <a:r>
              <a:rPr lang="ru-RU" sz="3487" spc="6" dirty="0" smtClean="0"/>
              <a:t>Лучшая теория – это практика</a:t>
            </a:r>
            <a:endParaRPr sz="3487" dirty="0"/>
          </a:p>
        </p:txBody>
      </p:sp>
      <p:sp>
        <p:nvSpPr>
          <p:cNvPr id="14" name="object 14"/>
          <p:cNvSpPr/>
          <p:nvPr/>
        </p:nvSpPr>
        <p:spPr>
          <a:xfrm>
            <a:off x="430" y="1850069"/>
            <a:ext cx="12191144" cy="4728208"/>
          </a:xfrm>
          <a:custGeom>
            <a:avLst/>
            <a:gdLst/>
            <a:ahLst/>
            <a:cxnLst/>
            <a:rect l="l" t="t" r="r" b="b"/>
            <a:pathLst>
              <a:path w="20104100" h="7797165">
                <a:moveTo>
                  <a:pt x="954315" y="2686253"/>
                </a:moveTo>
                <a:lnTo>
                  <a:pt x="908917" y="2689632"/>
                </a:lnTo>
                <a:lnTo>
                  <a:pt x="864039" y="2697941"/>
                </a:lnTo>
                <a:lnTo>
                  <a:pt x="820101" y="2711173"/>
                </a:lnTo>
                <a:lnTo>
                  <a:pt x="777521" y="2729321"/>
                </a:lnTo>
                <a:lnTo>
                  <a:pt x="736721" y="2752376"/>
                </a:lnTo>
                <a:lnTo>
                  <a:pt x="0" y="3224613"/>
                </a:lnTo>
                <a:lnTo>
                  <a:pt x="0" y="7796935"/>
                </a:lnTo>
                <a:lnTo>
                  <a:pt x="20104099" y="7796935"/>
                </a:lnTo>
                <a:lnTo>
                  <a:pt x="20104099" y="3413772"/>
                </a:lnTo>
                <a:lnTo>
                  <a:pt x="2443551" y="3413772"/>
                </a:lnTo>
                <a:lnTo>
                  <a:pt x="2397402" y="3412446"/>
                </a:lnTo>
                <a:lnTo>
                  <a:pt x="2351615" y="3406047"/>
                </a:lnTo>
                <a:lnTo>
                  <a:pt x="2306623" y="3394588"/>
                </a:lnTo>
                <a:lnTo>
                  <a:pt x="2262863" y="3378083"/>
                </a:lnTo>
                <a:lnTo>
                  <a:pt x="2220770" y="3356547"/>
                </a:lnTo>
                <a:lnTo>
                  <a:pt x="1174414" y="2743581"/>
                </a:lnTo>
                <a:lnTo>
                  <a:pt x="1132711" y="2722194"/>
                </a:lnTo>
                <a:lnTo>
                  <a:pt x="1089431" y="2705775"/>
                </a:lnTo>
                <a:lnTo>
                  <a:pt x="1044991" y="2694317"/>
                </a:lnTo>
                <a:lnTo>
                  <a:pt x="999813" y="2687812"/>
                </a:lnTo>
                <a:lnTo>
                  <a:pt x="954315" y="2686253"/>
                </a:lnTo>
                <a:close/>
              </a:path>
              <a:path w="20104100" h="7797165">
                <a:moveTo>
                  <a:pt x="3414144" y="3016375"/>
                </a:moveTo>
                <a:lnTo>
                  <a:pt x="3364400" y="3019070"/>
                </a:lnTo>
                <a:lnTo>
                  <a:pt x="3315318" y="3027664"/>
                </a:lnTo>
                <a:lnTo>
                  <a:pt x="3267430" y="3042098"/>
                </a:lnTo>
                <a:lnTo>
                  <a:pt x="3221263" y="3062315"/>
                </a:lnTo>
                <a:lnTo>
                  <a:pt x="2623061" y="3368064"/>
                </a:lnTo>
                <a:lnTo>
                  <a:pt x="2579816" y="3387170"/>
                </a:lnTo>
                <a:lnTo>
                  <a:pt x="2535193" y="3401148"/>
                </a:lnTo>
                <a:lnTo>
                  <a:pt x="2489626" y="3410010"/>
                </a:lnTo>
                <a:lnTo>
                  <a:pt x="2443551" y="3413772"/>
                </a:lnTo>
                <a:lnTo>
                  <a:pt x="20104099" y="3413772"/>
                </a:lnTo>
                <a:lnTo>
                  <a:pt x="20104099" y="3206399"/>
                </a:lnTo>
                <a:lnTo>
                  <a:pt x="4266141" y="3206399"/>
                </a:lnTo>
                <a:lnTo>
                  <a:pt x="4219944" y="3202808"/>
                </a:lnTo>
                <a:lnTo>
                  <a:pt x="4174009" y="3194038"/>
                </a:lnTo>
                <a:lnTo>
                  <a:pt x="3513505" y="3028913"/>
                </a:lnTo>
                <a:lnTo>
                  <a:pt x="3464022" y="3019636"/>
                </a:lnTo>
                <a:lnTo>
                  <a:pt x="3414144" y="3016375"/>
                </a:lnTo>
                <a:close/>
              </a:path>
              <a:path w="20104100" h="7797165">
                <a:moveTo>
                  <a:pt x="8469156" y="308253"/>
                </a:moveTo>
                <a:lnTo>
                  <a:pt x="8421796" y="308962"/>
                </a:lnTo>
                <a:lnTo>
                  <a:pt x="8374954" y="314990"/>
                </a:lnTo>
                <a:lnTo>
                  <a:pt x="8329084" y="326250"/>
                </a:lnTo>
                <a:lnTo>
                  <a:pt x="8284639" y="342656"/>
                </a:lnTo>
                <a:lnTo>
                  <a:pt x="8242075" y="364122"/>
                </a:lnTo>
                <a:lnTo>
                  <a:pt x="8201844" y="390564"/>
                </a:lnTo>
                <a:lnTo>
                  <a:pt x="4525516" y="3123779"/>
                </a:lnTo>
                <a:lnTo>
                  <a:pt x="4486487" y="3149538"/>
                </a:lnTo>
                <a:lnTo>
                  <a:pt x="4445222" y="3170611"/>
                </a:lnTo>
                <a:lnTo>
                  <a:pt x="4402140" y="3186916"/>
                </a:lnTo>
                <a:lnTo>
                  <a:pt x="4357655" y="3198371"/>
                </a:lnTo>
                <a:lnTo>
                  <a:pt x="4312183" y="3204892"/>
                </a:lnTo>
                <a:lnTo>
                  <a:pt x="4266141" y="3206399"/>
                </a:lnTo>
                <a:lnTo>
                  <a:pt x="20104099" y="3206399"/>
                </a:lnTo>
                <a:lnTo>
                  <a:pt x="20104099" y="1478704"/>
                </a:lnTo>
                <a:lnTo>
                  <a:pt x="17457747" y="1478704"/>
                </a:lnTo>
                <a:lnTo>
                  <a:pt x="17412036" y="1477116"/>
                </a:lnTo>
                <a:lnTo>
                  <a:pt x="17366539" y="1470501"/>
                </a:lnTo>
                <a:lnTo>
                  <a:pt x="17349770" y="1466129"/>
                </a:lnTo>
                <a:lnTo>
                  <a:pt x="12732043" y="1466129"/>
                </a:lnTo>
                <a:lnTo>
                  <a:pt x="12681791" y="1461647"/>
                </a:lnTo>
                <a:lnTo>
                  <a:pt x="12632076" y="1451055"/>
                </a:lnTo>
                <a:lnTo>
                  <a:pt x="8563613" y="323131"/>
                </a:lnTo>
                <a:lnTo>
                  <a:pt x="8516580" y="312947"/>
                </a:lnTo>
                <a:lnTo>
                  <a:pt x="8469156" y="308253"/>
                </a:lnTo>
                <a:close/>
              </a:path>
              <a:path w="20104100" h="7797165">
                <a:moveTo>
                  <a:pt x="18928586" y="338037"/>
                </a:moveTo>
                <a:lnTo>
                  <a:pt x="18880717" y="340158"/>
                </a:lnTo>
                <a:lnTo>
                  <a:pt x="18833536" y="347698"/>
                </a:lnTo>
                <a:lnTo>
                  <a:pt x="18787517" y="360557"/>
                </a:lnTo>
                <a:lnTo>
                  <a:pt x="18743135" y="378632"/>
                </a:lnTo>
                <a:lnTo>
                  <a:pt x="18700866" y="401820"/>
                </a:lnTo>
                <a:lnTo>
                  <a:pt x="18661184" y="430019"/>
                </a:lnTo>
                <a:lnTo>
                  <a:pt x="18624563" y="463127"/>
                </a:lnTo>
                <a:lnTo>
                  <a:pt x="17748045" y="1353676"/>
                </a:lnTo>
                <a:lnTo>
                  <a:pt x="17712729" y="1385742"/>
                </a:lnTo>
                <a:lnTo>
                  <a:pt x="17674653" y="1413165"/>
                </a:lnTo>
                <a:lnTo>
                  <a:pt x="17634242" y="1435888"/>
                </a:lnTo>
                <a:lnTo>
                  <a:pt x="17591920" y="1453859"/>
                </a:lnTo>
                <a:lnTo>
                  <a:pt x="17548114" y="1467021"/>
                </a:lnTo>
                <a:lnTo>
                  <a:pt x="17503248" y="1475321"/>
                </a:lnTo>
                <a:lnTo>
                  <a:pt x="17457747" y="1478704"/>
                </a:lnTo>
                <a:lnTo>
                  <a:pt x="20104099" y="1478704"/>
                </a:lnTo>
                <a:lnTo>
                  <a:pt x="20104099" y="442868"/>
                </a:lnTo>
                <a:lnTo>
                  <a:pt x="19344285" y="442868"/>
                </a:lnTo>
                <a:lnTo>
                  <a:pt x="19297231" y="439198"/>
                </a:lnTo>
                <a:lnTo>
                  <a:pt x="19250532" y="430162"/>
                </a:lnTo>
                <a:lnTo>
                  <a:pt x="19204640" y="415694"/>
                </a:lnTo>
                <a:lnTo>
                  <a:pt x="19071565" y="365224"/>
                </a:lnTo>
                <a:lnTo>
                  <a:pt x="19024485" y="350468"/>
                </a:lnTo>
                <a:lnTo>
                  <a:pt x="18976667" y="341440"/>
                </a:lnTo>
                <a:lnTo>
                  <a:pt x="18928586" y="338037"/>
                </a:lnTo>
                <a:close/>
              </a:path>
              <a:path w="20104100" h="7797165">
                <a:moveTo>
                  <a:pt x="15295632" y="325461"/>
                </a:moveTo>
                <a:lnTo>
                  <a:pt x="15244316" y="326481"/>
                </a:lnTo>
                <a:lnTo>
                  <a:pt x="15193328" y="333798"/>
                </a:lnTo>
                <a:lnTo>
                  <a:pt x="15143263" y="347437"/>
                </a:lnTo>
                <a:lnTo>
                  <a:pt x="15094713" y="367423"/>
                </a:lnTo>
                <a:lnTo>
                  <a:pt x="12927564" y="1423935"/>
                </a:lnTo>
                <a:lnTo>
                  <a:pt x="12880593" y="1443403"/>
                </a:lnTo>
                <a:lnTo>
                  <a:pt x="12831987" y="1456957"/>
                </a:lnTo>
                <a:lnTo>
                  <a:pt x="12782290" y="1464549"/>
                </a:lnTo>
                <a:lnTo>
                  <a:pt x="12732043" y="1466129"/>
                </a:lnTo>
                <a:lnTo>
                  <a:pt x="17349770" y="1466129"/>
                </a:lnTo>
                <a:lnTo>
                  <a:pt x="17321683" y="1458806"/>
                </a:lnTo>
                <a:lnTo>
                  <a:pt x="17277891" y="1441976"/>
                </a:lnTo>
                <a:lnTo>
                  <a:pt x="17235590" y="1419956"/>
                </a:lnTo>
                <a:lnTo>
                  <a:pt x="15492303" y="383862"/>
                </a:lnTo>
                <a:lnTo>
                  <a:pt x="15445611" y="359939"/>
                </a:lnTo>
                <a:lnTo>
                  <a:pt x="15396873" y="342214"/>
                </a:lnTo>
                <a:lnTo>
                  <a:pt x="15346682" y="330713"/>
                </a:lnTo>
                <a:lnTo>
                  <a:pt x="15295632" y="325461"/>
                </a:lnTo>
                <a:close/>
              </a:path>
              <a:path w="20104100" h="7797165">
                <a:moveTo>
                  <a:pt x="20104099" y="0"/>
                </a:moveTo>
                <a:lnTo>
                  <a:pt x="20044637" y="26753"/>
                </a:lnTo>
                <a:lnTo>
                  <a:pt x="19987443" y="64186"/>
                </a:lnTo>
                <a:lnTo>
                  <a:pt x="19608827" y="355905"/>
                </a:lnTo>
                <a:lnTo>
                  <a:pt x="19569108" y="383041"/>
                </a:lnTo>
                <a:lnTo>
                  <a:pt x="19527040" y="405208"/>
                </a:lnTo>
                <a:lnTo>
                  <a:pt x="19483072" y="422341"/>
                </a:lnTo>
                <a:lnTo>
                  <a:pt x="19437657" y="434372"/>
                </a:lnTo>
                <a:lnTo>
                  <a:pt x="19391244" y="441237"/>
                </a:lnTo>
                <a:lnTo>
                  <a:pt x="19344285" y="442868"/>
                </a:lnTo>
                <a:lnTo>
                  <a:pt x="20104099" y="442868"/>
                </a:lnTo>
                <a:lnTo>
                  <a:pt x="20104099" y="0"/>
                </a:lnTo>
                <a:close/>
              </a:path>
            </a:pathLst>
          </a:custGeom>
          <a:solidFill>
            <a:srgbClr val="EDEFE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5" name="object 15"/>
          <p:cNvSpPr/>
          <p:nvPr/>
        </p:nvSpPr>
        <p:spPr>
          <a:xfrm>
            <a:off x="428" y="4090954"/>
            <a:ext cx="12191144" cy="2766689"/>
          </a:xfrm>
          <a:custGeom>
            <a:avLst/>
            <a:gdLst/>
            <a:ahLst/>
            <a:cxnLst/>
            <a:rect l="l" t="t" r="r" b="b"/>
            <a:pathLst>
              <a:path w="20104100" h="4562475">
                <a:moveTo>
                  <a:pt x="0" y="346377"/>
                </a:moveTo>
                <a:lnTo>
                  <a:pt x="0" y="4562270"/>
                </a:lnTo>
                <a:lnTo>
                  <a:pt x="20104099" y="4562270"/>
                </a:lnTo>
                <a:lnTo>
                  <a:pt x="20104099" y="3760149"/>
                </a:lnTo>
                <a:lnTo>
                  <a:pt x="17660548" y="3760149"/>
                </a:lnTo>
                <a:lnTo>
                  <a:pt x="17614473" y="3756388"/>
                </a:lnTo>
                <a:lnTo>
                  <a:pt x="17568906" y="3747525"/>
                </a:lnTo>
                <a:lnTo>
                  <a:pt x="17524283" y="3733548"/>
                </a:lnTo>
                <a:lnTo>
                  <a:pt x="17481038" y="3714442"/>
                </a:lnTo>
                <a:lnTo>
                  <a:pt x="17164733" y="3552777"/>
                </a:lnTo>
                <a:lnTo>
                  <a:pt x="15837958" y="3552777"/>
                </a:lnTo>
                <a:lnTo>
                  <a:pt x="15791916" y="3551270"/>
                </a:lnTo>
                <a:lnTo>
                  <a:pt x="15746444" y="3544748"/>
                </a:lnTo>
                <a:lnTo>
                  <a:pt x="15701959" y="3533294"/>
                </a:lnTo>
                <a:lnTo>
                  <a:pt x="15658876" y="3516989"/>
                </a:lnTo>
                <a:lnTo>
                  <a:pt x="15617612" y="3495916"/>
                </a:lnTo>
                <a:lnTo>
                  <a:pt x="15578583" y="3470157"/>
                </a:lnTo>
                <a:lnTo>
                  <a:pt x="11544574" y="1825082"/>
                </a:lnTo>
                <a:lnTo>
                  <a:pt x="2646350" y="1825082"/>
                </a:lnTo>
                <a:lnTo>
                  <a:pt x="2600850" y="1821699"/>
                </a:lnTo>
                <a:lnTo>
                  <a:pt x="2555984" y="1813399"/>
                </a:lnTo>
                <a:lnTo>
                  <a:pt x="2512178" y="1800236"/>
                </a:lnTo>
                <a:lnTo>
                  <a:pt x="2469857" y="1782266"/>
                </a:lnTo>
                <a:lnTo>
                  <a:pt x="2429446" y="1759543"/>
                </a:lnTo>
                <a:lnTo>
                  <a:pt x="2391370" y="1732120"/>
                </a:lnTo>
                <a:lnTo>
                  <a:pt x="2356053" y="1700053"/>
                </a:lnTo>
                <a:lnTo>
                  <a:pt x="1479536" y="809505"/>
                </a:lnTo>
                <a:lnTo>
                  <a:pt x="1457127" y="789245"/>
                </a:lnTo>
                <a:lnTo>
                  <a:pt x="759806" y="789245"/>
                </a:lnTo>
                <a:lnTo>
                  <a:pt x="712848" y="787615"/>
                </a:lnTo>
                <a:lnTo>
                  <a:pt x="666438" y="780750"/>
                </a:lnTo>
                <a:lnTo>
                  <a:pt x="621024" y="768719"/>
                </a:lnTo>
                <a:lnTo>
                  <a:pt x="577058" y="751586"/>
                </a:lnTo>
                <a:lnTo>
                  <a:pt x="534990" y="729418"/>
                </a:lnTo>
                <a:lnTo>
                  <a:pt x="495272" y="702283"/>
                </a:lnTo>
                <a:lnTo>
                  <a:pt x="116645" y="410564"/>
                </a:lnTo>
                <a:lnTo>
                  <a:pt x="98097" y="397017"/>
                </a:lnTo>
                <a:lnTo>
                  <a:pt x="60058" y="373458"/>
                </a:lnTo>
                <a:lnTo>
                  <a:pt x="20392" y="354322"/>
                </a:lnTo>
                <a:lnTo>
                  <a:pt x="10205" y="350207"/>
                </a:lnTo>
                <a:lnTo>
                  <a:pt x="0" y="346377"/>
                </a:lnTo>
                <a:close/>
              </a:path>
              <a:path w="20104100" h="4562475">
                <a:moveTo>
                  <a:pt x="19149784" y="3032631"/>
                </a:moveTo>
                <a:lnTo>
                  <a:pt x="19104286" y="3034190"/>
                </a:lnTo>
                <a:lnTo>
                  <a:pt x="19059108" y="3040695"/>
                </a:lnTo>
                <a:lnTo>
                  <a:pt x="19014668" y="3052153"/>
                </a:lnTo>
                <a:lnTo>
                  <a:pt x="18971388" y="3068572"/>
                </a:lnTo>
                <a:lnTo>
                  <a:pt x="18929685" y="3089959"/>
                </a:lnTo>
                <a:lnTo>
                  <a:pt x="17883329" y="3702924"/>
                </a:lnTo>
                <a:lnTo>
                  <a:pt x="17841236" y="3724461"/>
                </a:lnTo>
                <a:lnTo>
                  <a:pt x="17797476" y="3740966"/>
                </a:lnTo>
                <a:lnTo>
                  <a:pt x="17752484" y="3752424"/>
                </a:lnTo>
                <a:lnTo>
                  <a:pt x="17706697" y="3758824"/>
                </a:lnTo>
                <a:lnTo>
                  <a:pt x="17660548" y="3760149"/>
                </a:lnTo>
                <a:lnTo>
                  <a:pt x="20104099" y="3760149"/>
                </a:lnTo>
                <a:lnTo>
                  <a:pt x="20104099" y="3570991"/>
                </a:lnTo>
                <a:lnTo>
                  <a:pt x="19367378" y="3098754"/>
                </a:lnTo>
                <a:lnTo>
                  <a:pt x="19326578" y="3075699"/>
                </a:lnTo>
                <a:lnTo>
                  <a:pt x="19283998" y="3057551"/>
                </a:lnTo>
                <a:lnTo>
                  <a:pt x="19240060" y="3044319"/>
                </a:lnTo>
                <a:lnTo>
                  <a:pt x="19195182" y="3036009"/>
                </a:lnTo>
                <a:lnTo>
                  <a:pt x="19149784" y="3032631"/>
                </a:lnTo>
                <a:close/>
              </a:path>
              <a:path w="20104100" h="4562475">
                <a:moveTo>
                  <a:pt x="16689954" y="3362752"/>
                </a:moveTo>
                <a:lnTo>
                  <a:pt x="16640076" y="3366014"/>
                </a:lnTo>
                <a:lnTo>
                  <a:pt x="16590594" y="3375290"/>
                </a:lnTo>
                <a:lnTo>
                  <a:pt x="15930090" y="3540416"/>
                </a:lnTo>
                <a:lnTo>
                  <a:pt x="15884155" y="3549186"/>
                </a:lnTo>
                <a:lnTo>
                  <a:pt x="15837958" y="3552777"/>
                </a:lnTo>
                <a:lnTo>
                  <a:pt x="17164733" y="3552777"/>
                </a:lnTo>
                <a:lnTo>
                  <a:pt x="16882826" y="3408692"/>
                </a:lnTo>
                <a:lnTo>
                  <a:pt x="16836663" y="3388476"/>
                </a:lnTo>
                <a:lnTo>
                  <a:pt x="16788777" y="3374042"/>
                </a:lnTo>
                <a:lnTo>
                  <a:pt x="16739698" y="3365448"/>
                </a:lnTo>
                <a:lnTo>
                  <a:pt x="16689954" y="3362752"/>
                </a:lnTo>
                <a:close/>
              </a:path>
              <a:path w="20104100" h="4562475">
                <a:moveTo>
                  <a:pt x="6924101" y="0"/>
                </a:moveTo>
                <a:lnTo>
                  <a:pt x="6877231" y="417"/>
                </a:lnTo>
                <a:lnTo>
                  <a:pt x="6830421" y="3195"/>
                </a:lnTo>
                <a:lnTo>
                  <a:pt x="6783646" y="8363"/>
                </a:lnTo>
                <a:lnTo>
                  <a:pt x="6736883" y="15950"/>
                </a:lnTo>
                <a:lnTo>
                  <a:pt x="6690109" y="25985"/>
                </a:lnTo>
                <a:lnTo>
                  <a:pt x="6643298" y="38498"/>
                </a:lnTo>
                <a:lnTo>
                  <a:pt x="6596429" y="53519"/>
                </a:lnTo>
                <a:lnTo>
                  <a:pt x="6549477" y="71077"/>
                </a:lnTo>
                <a:lnTo>
                  <a:pt x="6502419" y="91202"/>
                </a:lnTo>
                <a:lnTo>
                  <a:pt x="2868499" y="1766334"/>
                </a:lnTo>
                <a:lnTo>
                  <a:pt x="2826199" y="1788354"/>
                </a:lnTo>
                <a:lnTo>
                  <a:pt x="2782410" y="1805184"/>
                </a:lnTo>
                <a:lnTo>
                  <a:pt x="2737555" y="1816879"/>
                </a:lnTo>
                <a:lnTo>
                  <a:pt x="2692060" y="1823493"/>
                </a:lnTo>
                <a:lnTo>
                  <a:pt x="2646350" y="1825082"/>
                </a:lnTo>
                <a:lnTo>
                  <a:pt x="11544574" y="1825082"/>
                </a:lnTo>
                <a:lnTo>
                  <a:pt x="7549508" y="195911"/>
                </a:lnTo>
                <a:lnTo>
                  <a:pt x="7499724" y="168332"/>
                </a:lnTo>
                <a:lnTo>
                  <a:pt x="7450306" y="142730"/>
                </a:lnTo>
                <a:lnTo>
                  <a:pt x="7401230" y="119134"/>
                </a:lnTo>
                <a:lnTo>
                  <a:pt x="7352473" y="97574"/>
                </a:lnTo>
                <a:lnTo>
                  <a:pt x="7304010" y="78079"/>
                </a:lnTo>
                <a:lnTo>
                  <a:pt x="7255820" y="60678"/>
                </a:lnTo>
                <a:lnTo>
                  <a:pt x="7207877" y="45402"/>
                </a:lnTo>
                <a:lnTo>
                  <a:pt x="7160158" y="32279"/>
                </a:lnTo>
                <a:lnTo>
                  <a:pt x="7112639" y="21339"/>
                </a:lnTo>
                <a:lnTo>
                  <a:pt x="7065298" y="12611"/>
                </a:lnTo>
                <a:lnTo>
                  <a:pt x="7018110" y="6126"/>
                </a:lnTo>
                <a:lnTo>
                  <a:pt x="6971052" y="1912"/>
                </a:lnTo>
                <a:lnTo>
                  <a:pt x="6924101" y="0"/>
                </a:lnTo>
                <a:close/>
              </a:path>
              <a:path w="20104100" h="4562475">
                <a:moveTo>
                  <a:pt x="1175513" y="684415"/>
                </a:moveTo>
                <a:lnTo>
                  <a:pt x="1127432" y="687818"/>
                </a:lnTo>
                <a:lnTo>
                  <a:pt x="1079614" y="696846"/>
                </a:lnTo>
                <a:lnTo>
                  <a:pt x="1032534" y="711602"/>
                </a:lnTo>
                <a:lnTo>
                  <a:pt x="899449" y="762071"/>
                </a:lnTo>
                <a:lnTo>
                  <a:pt x="853556" y="776540"/>
                </a:lnTo>
                <a:lnTo>
                  <a:pt x="806859" y="785576"/>
                </a:lnTo>
                <a:lnTo>
                  <a:pt x="759806" y="789245"/>
                </a:lnTo>
                <a:lnTo>
                  <a:pt x="1457127" y="789245"/>
                </a:lnTo>
                <a:lnTo>
                  <a:pt x="1403233" y="748198"/>
                </a:lnTo>
                <a:lnTo>
                  <a:pt x="1360964" y="725010"/>
                </a:lnTo>
                <a:lnTo>
                  <a:pt x="1316582" y="706935"/>
                </a:lnTo>
                <a:lnTo>
                  <a:pt x="1270563" y="694076"/>
                </a:lnTo>
                <a:lnTo>
                  <a:pt x="1223382" y="686535"/>
                </a:lnTo>
                <a:lnTo>
                  <a:pt x="1175513" y="68441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object 18"/>
          <p:cNvSpPr txBox="1"/>
          <p:nvPr/>
        </p:nvSpPr>
        <p:spPr>
          <a:xfrm>
            <a:off x="2067234" y="2844179"/>
            <a:ext cx="1299602" cy="5174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>
              <a:lnSpc>
                <a:spcPct val="112400"/>
              </a:lnSpc>
            </a:pPr>
            <a:r>
              <a:rPr lang="ru-RU" sz="1001" spc="-3" dirty="0">
                <a:solidFill>
                  <a:srgbClr val="4E4E4E"/>
                </a:solidFill>
                <a:latin typeface="Roboto Light"/>
                <a:cs typeface="Roboto Light"/>
              </a:rPr>
              <a:t>ФГБУН «ФИЦ питания и биотехнологии» РАН</a:t>
            </a:r>
            <a:endParaRPr sz="1001">
              <a:latin typeface="Roboto Light"/>
              <a:cs typeface="Roboto Light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919563" y="6244648"/>
            <a:ext cx="2956141" cy="258832"/>
          </a:xfrm>
          <a:prstGeom prst="rect">
            <a:avLst/>
          </a:prstGeom>
        </p:spPr>
        <p:txBody>
          <a:bodyPr vert="horz" wrap="square" lIns="0" tIns="16172" rIns="0" bIns="0" rtlCol="0">
            <a:spAutoFit/>
          </a:bodyPr>
          <a:lstStyle/>
          <a:p>
            <a:pPr marL="7701">
              <a:spcBef>
                <a:spcPts val="127"/>
              </a:spcBef>
            </a:pPr>
            <a:r>
              <a:rPr sz="788" b="1" spc="6" dirty="0">
                <a:solidFill>
                  <a:srgbClr val="69C7B5"/>
                </a:solidFill>
                <a:latin typeface="Open Sans"/>
                <a:cs typeface="Open Sans"/>
              </a:rPr>
              <a:t>NUTRILOGIC </a:t>
            </a:r>
            <a:r>
              <a:rPr sz="788" b="1" spc="9" dirty="0">
                <a:solidFill>
                  <a:srgbClr val="69C7B5"/>
                </a:solidFill>
                <a:latin typeface="Open Sans"/>
                <a:cs typeface="Open Sans"/>
              </a:rPr>
              <a:t>— </a:t>
            </a:r>
            <a:r>
              <a:rPr sz="788" b="1" spc="6" dirty="0">
                <a:solidFill>
                  <a:srgbClr val="69C7B5"/>
                </a:solidFill>
                <a:latin typeface="Open Sans"/>
                <a:cs typeface="Open Sans"/>
              </a:rPr>
              <a:t>СТАНДАРТ РАБОЧЕГО МЕСТА</a:t>
            </a:r>
            <a:r>
              <a:rPr sz="788" b="1" spc="-6" dirty="0">
                <a:solidFill>
                  <a:srgbClr val="69C7B5"/>
                </a:solidFill>
                <a:latin typeface="Open Sans"/>
                <a:cs typeface="Open Sans"/>
              </a:rPr>
              <a:t> </a:t>
            </a:r>
            <a:r>
              <a:rPr sz="788" b="1" spc="6" dirty="0">
                <a:solidFill>
                  <a:srgbClr val="69C7B5"/>
                </a:solidFill>
                <a:latin typeface="Open Sans"/>
                <a:cs typeface="Open Sans"/>
              </a:rPr>
              <a:t>ДИЕТОЛОГА</a:t>
            </a:r>
            <a:endParaRPr sz="788">
              <a:latin typeface="Open Sans"/>
              <a:cs typeface="Open San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67632" y="1721217"/>
            <a:ext cx="10656737" cy="642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sz="1789" spc="3" dirty="0">
                <a:solidFill>
                  <a:srgbClr val="4E4E4E"/>
                </a:solidFill>
                <a:latin typeface="Roboto Light"/>
                <a:cs typeface="Roboto Light"/>
              </a:rPr>
              <a:t>Эти учреждения уже используют наш сервис в повседневной клинической практике: </a:t>
            </a:r>
            <a:endParaRPr lang="ru-RU" sz="1789" dirty="0">
              <a:latin typeface="Roboto Light"/>
              <a:cs typeface="Roboto Light"/>
            </a:endParaRPr>
          </a:p>
          <a:p>
            <a:pPr algn="ctr"/>
            <a:endParaRPr lang="ru-RU" sz="1789" dirty="0"/>
          </a:p>
        </p:txBody>
      </p:sp>
      <p:pic>
        <p:nvPicPr>
          <p:cNvPr id="1027" name="Picture 3" descr="F:\Nutrilogic\Преза\Логотипы\мать-и-дитя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358580" y="4557895"/>
            <a:ext cx="1106099" cy="903205"/>
          </a:xfrm>
          <a:prstGeom prst="rect">
            <a:avLst/>
          </a:prstGeom>
          <a:noFill/>
        </p:spPr>
      </p:pic>
      <p:pic>
        <p:nvPicPr>
          <p:cNvPr id="1028" name="Picture 4" descr="F:\Nutrilogic\Преза\Логотипы\первая-градская2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55437" y="2667836"/>
            <a:ext cx="1076137" cy="990729"/>
          </a:xfrm>
          <a:prstGeom prst="rect">
            <a:avLst/>
          </a:prstGeom>
          <a:noFill/>
        </p:spPr>
      </p:pic>
      <p:pic>
        <p:nvPicPr>
          <p:cNvPr id="1030" name="Picture 6" descr="F:\Nutrilogic\Преза\Логотипы\УПД3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55523" y="2562599"/>
            <a:ext cx="1064358" cy="1201204"/>
          </a:xfrm>
          <a:prstGeom prst="rect">
            <a:avLst/>
          </a:prstGeom>
          <a:noFill/>
        </p:spPr>
      </p:pic>
      <p:pic>
        <p:nvPicPr>
          <p:cNvPr id="1032" name="Picture 8" descr="F:\Nutrilogic\Преза\Логотипы\фмба-россии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695204" y="4467313"/>
            <a:ext cx="1083002" cy="1084370"/>
          </a:xfrm>
          <a:prstGeom prst="rect">
            <a:avLst/>
          </a:prstGeom>
          <a:noFill/>
        </p:spPr>
      </p:pic>
      <p:sp>
        <p:nvSpPr>
          <p:cNvPr id="46" name="object 18"/>
          <p:cNvSpPr txBox="1"/>
          <p:nvPr/>
        </p:nvSpPr>
        <p:spPr>
          <a:xfrm>
            <a:off x="3193556" y="4753189"/>
            <a:ext cx="1342922" cy="5174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>
              <a:lnSpc>
                <a:spcPct val="112400"/>
              </a:lnSpc>
            </a:pPr>
            <a:r>
              <a:rPr lang="ru-RU" sz="1001" spc="-3" dirty="0">
                <a:solidFill>
                  <a:srgbClr val="4E4E4E"/>
                </a:solidFill>
                <a:latin typeface="Roboto Light"/>
                <a:cs typeface="Roboto Light"/>
              </a:rPr>
              <a:t>Санаторно-курортный комплекс «</a:t>
            </a:r>
            <a:r>
              <a:rPr lang="ru-RU" sz="1001" spc="-3" dirty="0" err="1">
                <a:solidFill>
                  <a:srgbClr val="4E4E4E"/>
                </a:solidFill>
                <a:latin typeface="Roboto Light"/>
                <a:cs typeface="Roboto Light"/>
              </a:rPr>
              <a:t>Мрия</a:t>
            </a:r>
            <a:r>
              <a:rPr lang="ru-RU" sz="1001" spc="-3" dirty="0">
                <a:solidFill>
                  <a:srgbClr val="4E4E4E"/>
                </a:solidFill>
                <a:latin typeface="Roboto Light"/>
                <a:cs typeface="Roboto Light"/>
              </a:rPr>
              <a:t>» Сбербанка РФ.</a:t>
            </a:r>
            <a:endParaRPr sz="1001">
              <a:latin typeface="Roboto Light"/>
              <a:cs typeface="Roboto Light"/>
            </a:endParaRPr>
          </a:p>
        </p:txBody>
      </p:sp>
      <p:pic>
        <p:nvPicPr>
          <p:cNvPr id="1034" name="Picture 10" descr="F:\Nutrilogic\Преза\Логотипы\мрия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634033" y="4468682"/>
            <a:ext cx="1494021" cy="894345"/>
          </a:xfrm>
          <a:prstGeom prst="rect">
            <a:avLst/>
          </a:prstGeom>
          <a:noFill/>
        </p:spPr>
      </p:pic>
      <p:sp>
        <p:nvSpPr>
          <p:cNvPr id="48" name="object 18"/>
          <p:cNvSpPr txBox="1"/>
          <p:nvPr/>
        </p:nvSpPr>
        <p:spPr>
          <a:xfrm>
            <a:off x="5446199" y="2844179"/>
            <a:ext cx="1342922" cy="5174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>
              <a:lnSpc>
                <a:spcPct val="112400"/>
              </a:lnSpc>
            </a:pPr>
            <a:r>
              <a:rPr lang="ru-RU" sz="1001" spc="-3" dirty="0">
                <a:solidFill>
                  <a:srgbClr val="4E4E4E"/>
                </a:solidFill>
                <a:latin typeface="Roboto Light"/>
                <a:cs typeface="Roboto Light"/>
              </a:rPr>
              <a:t>ГКБ №1 «Первая Градская больница» имени Н. И. Пирогова</a:t>
            </a:r>
            <a:endParaRPr sz="1001">
              <a:latin typeface="Roboto Light"/>
              <a:cs typeface="Roboto Light"/>
            </a:endParaRPr>
          </a:p>
        </p:txBody>
      </p:sp>
      <p:sp>
        <p:nvSpPr>
          <p:cNvPr id="49" name="object 18"/>
          <p:cNvSpPr txBox="1"/>
          <p:nvPr/>
        </p:nvSpPr>
        <p:spPr>
          <a:xfrm>
            <a:off x="8868484" y="2844179"/>
            <a:ext cx="1516202" cy="5174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>
              <a:lnSpc>
                <a:spcPct val="112400"/>
              </a:lnSpc>
            </a:pPr>
            <a:r>
              <a:rPr lang="ru-RU" sz="1001" spc="-3" dirty="0">
                <a:solidFill>
                  <a:srgbClr val="4E4E4E"/>
                </a:solidFill>
                <a:latin typeface="Roboto Light"/>
                <a:cs typeface="Roboto Light"/>
              </a:rPr>
              <a:t>ФГБУ «Поликлиника №3» Управления делами Президента РФ</a:t>
            </a:r>
            <a:endParaRPr sz="1001">
              <a:latin typeface="Roboto Light"/>
              <a:cs typeface="Roboto Light"/>
            </a:endParaRPr>
          </a:p>
        </p:txBody>
      </p:sp>
      <p:sp>
        <p:nvSpPr>
          <p:cNvPr id="50" name="object 18"/>
          <p:cNvSpPr txBox="1"/>
          <p:nvPr/>
        </p:nvSpPr>
        <p:spPr>
          <a:xfrm>
            <a:off x="6702481" y="4751934"/>
            <a:ext cx="1126322" cy="5174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>
              <a:lnSpc>
                <a:spcPct val="112400"/>
              </a:lnSpc>
            </a:pPr>
            <a:r>
              <a:rPr lang="ru-RU" sz="1001" spc="-3" dirty="0">
                <a:solidFill>
                  <a:srgbClr val="4E4E4E"/>
                </a:solidFill>
                <a:latin typeface="Roboto Light"/>
                <a:cs typeface="Roboto Light"/>
              </a:rPr>
              <a:t>Клинический Госпиталь </a:t>
            </a:r>
            <a:r>
              <a:rPr lang="ru-RU" sz="1001" spc="-3" dirty="0" err="1">
                <a:solidFill>
                  <a:srgbClr val="4E4E4E"/>
                </a:solidFill>
                <a:latin typeface="Roboto Light"/>
                <a:cs typeface="Roboto Light"/>
              </a:rPr>
              <a:t>Лапино</a:t>
            </a:r>
            <a:r>
              <a:rPr lang="ru-RU" sz="1001" spc="-3" dirty="0">
                <a:solidFill>
                  <a:srgbClr val="4E4E4E"/>
                </a:solidFill>
                <a:latin typeface="Roboto Light"/>
                <a:cs typeface="Roboto Light"/>
              </a:rPr>
              <a:t> «Мать и дитя»</a:t>
            </a:r>
            <a:endParaRPr sz="1001">
              <a:latin typeface="Roboto Light"/>
              <a:cs typeface="Roboto Light"/>
            </a:endParaRPr>
          </a:p>
        </p:txBody>
      </p:sp>
      <p:sp>
        <p:nvSpPr>
          <p:cNvPr id="51" name="object 18"/>
          <p:cNvSpPr txBox="1"/>
          <p:nvPr/>
        </p:nvSpPr>
        <p:spPr>
          <a:xfrm>
            <a:off x="9864846" y="4839412"/>
            <a:ext cx="1299602" cy="3449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>
              <a:lnSpc>
                <a:spcPct val="112400"/>
              </a:lnSpc>
            </a:pPr>
            <a:r>
              <a:rPr lang="ru-RU" sz="1001" spc="-3" dirty="0">
                <a:solidFill>
                  <a:srgbClr val="4E4E4E"/>
                </a:solidFill>
                <a:latin typeface="Roboto Light"/>
                <a:cs typeface="Roboto Light"/>
              </a:rPr>
              <a:t>АКБ ФГБУЗ ЮОМЦ ФМБА России</a:t>
            </a:r>
            <a:endParaRPr sz="1001">
              <a:latin typeface="Roboto Light"/>
              <a:cs typeface="Roboto Light"/>
            </a:endParaRPr>
          </a:p>
        </p:txBody>
      </p:sp>
      <p:pic>
        <p:nvPicPr>
          <p:cNvPr id="30" name="Picture 6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88841" y="2562599"/>
            <a:ext cx="1204192" cy="102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2336726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Shape 190"/>
          <p:cNvPicPr preferRelativeResize="0"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5234" y="2130121"/>
            <a:ext cx="3568700" cy="3568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9" name="Shape 191"/>
          <p:cNvSpPr txBox="1">
            <a:spLocks noGrp="1"/>
          </p:cNvSpPr>
          <p:nvPr>
            <p:ph type="subTitle" idx="4294967295"/>
          </p:nvPr>
        </p:nvSpPr>
        <p:spPr>
          <a:xfrm>
            <a:off x="8636001" y="1958672"/>
            <a:ext cx="1646767" cy="451534"/>
          </a:xfrm>
        </p:spPr>
        <p:txBody>
          <a:bodyPr/>
          <a:lstStyle/>
          <a:p>
            <a:pPr>
              <a:spcAft>
                <a:spcPts val="2133"/>
              </a:spcAft>
              <a:buClr>
                <a:srgbClr val="595959"/>
              </a:buClr>
            </a:pPr>
            <a:r>
              <a:rPr lang="ru-RU" altLang="ru-RU" sz="1467" dirty="0" smtClean="0">
                <a:solidFill>
                  <a:srgbClr val="485C69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Выбор региона РФ или предприятия</a:t>
            </a:r>
            <a:endParaRPr lang="ru-RU" altLang="ru-RU" sz="1467" dirty="0">
              <a:solidFill>
                <a:srgbClr val="485C69"/>
              </a:solidFill>
              <a:latin typeface="Open Sans" charset="0"/>
              <a:cs typeface="Arial" panose="020B0604020202020204" pitchFamily="34" charset="0"/>
              <a:sym typeface="Open Sans" charset="0"/>
            </a:endParaRPr>
          </a:p>
        </p:txBody>
      </p:sp>
      <p:sp>
        <p:nvSpPr>
          <p:cNvPr id="19460" name="Shape 192"/>
          <p:cNvSpPr txBox="1">
            <a:spLocks noGrp="1"/>
          </p:cNvSpPr>
          <p:nvPr>
            <p:ph type="subTitle" idx="4294967295"/>
          </p:nvPr>
        </p:nvSpPr>
        <p:spPr>
          <a:xfrm>
            <a:off x="8521701" y="4677272"/>
            <a:ext cx="3410323" cy="1205779"/>
          </a:xfrm>
        </p:spPr>
        <p:txBody>
          <a:bodyPr/>
          <a:lstStyle/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ru-RU" altLang="ru-RU" sz="1467" dirty="0" smtClean="0">
                <a:solidFill>
                  <a:srgbClr val="485C69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Доступ к </a:t>
            </a:r>
            <a:r>
              <a:rPr lang="ru-RU" altLang="ru-RU" sz="1467" dirty="0" err="1" smtClean="0">
                <a:solidFill>
                  <a:srgbClr val="485C69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Нутрилоджик</a:t>
            </a:r>
            <a:r>
              <a:rPr lang="ru-RU" altLang="ru-RU" sz="1467" dirty="0" smtClean="0">
                <a:solidFill>
                  <a:srgbClr val="485C69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 всех медицинских учреждений региона,</a:t>
            </a:r>
          </a:p>
          <a:p>
            <a:pPr>
              <a:spcAft>
                <a:spcPts val="600"/>
              </a:spcAft>
              <a:buClr>
                <a:srgbClr val="000000"/>
              </a:buClr>
            </a:pPr>
            <a:r>
              <a:rPr lang="ru-RU" altLang="ru-RU" sz="1467" dirty="0">
                <a:solidFill>
                  <a:srgbClr val="485C69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Дистанционное обучение </a:t>
            </a:r>
            <a:r>
              <a:rPr lang="ru-RU" altLang="ru-RU" sz="1467" dirty="0" smtClean="0">
                <a:solidFill>
                  <a:srgbClr val="485C69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медперсонала</a:t>
            </a:r>
            <a:endParaRPr lang="ru-RU" altLang="ru-RU" sz="1467" dirty="0">
              <a:solidFill>
                <a:srgbClr val="485C69"/>
              </a:solidFill>
              <a:latin typeface="Open Sans" charset="0"/>
              <a:cs typeface="Arial" panose="020B0604020202020204" pitchFamily="34" charset="0"/>
              <a:sym typeface="Open Sans" charset="0"/>
            </a:endParaRPr>
          </a:p>
        </p:txBody>
      </p:sp>
      <p:sp>
        <p:nvSpPr>
          <p:cNvPr id="19461" name="Shape 193"/>
          <p:cNvSpPr txBox="1">
            <a:spLocks noGrp="1"/>
          </p:cNvSpPr>
          <p:nvPr>
            <p:ph type="subTitle" idx="4294967295"/>
          </p:nvPr>
        </p:nvSpPr>
        <p:spPr>
          <a:xfrm>
            <a:off x="5257801" y="6175070"/>
            <a:ext cx="3568700" cy="451534"/>
          </a:xfrm>
        </p:spPr>
        <p:txBody>
          <a:bodyPr/>
          <a:lstStyle/>
          <a:p>
            <a:pPr>
              <a:spcAft>
                <a:spcPts val="2133"/>
              </a:spcAft>
              <a:buClr>
                <a:srgbClr val="000000"/>
              </a:buClr>
            </a:pPr>
            <a:r>
              <a:rPr lang="ru-RU" altLang="ru-RU" sz="1467" dirty="0" smtClean="0">
                <a:solidFill>
                  <a:srgbClr val="485C69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Реальная клиническая практика (персонализированная диетология)</a:t>
            </a:r>
            <a:endParaRPr lang="ru-RU" altLang="ru-RU" sz="1467" dirty="0">
              <a:solidFill>
                <a:srgbClr val="485C69"/>
              </a:solidFill>
              <a:latin typeface="Open Sans" charset="0"/>
              <a:cs typeface="Arial" panose="020B0604020202020204" pitchFamily="34" charset="0"/>
              <a:sym typeface="Open Sans" charset="0"/>
            </a:endParaRPr>
          </a:p>
        </p:txBody>
      </p:sp>
      <p:pic>
        <p:nvPicPr>
          <p:cNvPr id="19462" name="Shape 194"/>
          <p:cNvPicPr preferRelativeResize="0"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9317" y="2650821"/>
            <a:ext cx="903816" cy="2550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63" name="Shape 195"/>
          <p:cNvSpPr txBox="1">
            <a:spLocks noGrp="1"/>
          </p:cNvSpPr>
          <p:nvPr>
            <p:ph type="subTitle" idx="4294967295"/>
          </p:nvPr>
        </p:nvSpPr>
        <p:spPr>
          <a:xfrm>
            <a:off x="921622" y="3926113"/>
            <a:ext cx="2167467" cy="451534"/>
          </a:xfrm>
        </p:spPr>
        <p:txBody>
          <a:bodyPr/>
          <a:lstStyle/>
          <a:p>
            <a:pPr algn="r">
              <a:spcAft>
                <a:spcPts val="2133"/>
              </a:spcAft>
              <a:buClr>
                <a:srgbClr val="595959"/>
              </a:buClr>
            </a:pPr>
            <a:r>
              <a:rPr lang="ru-RU" altLang="ru-RU" sz="1467" dirty="0" smtClean="0">
                <a:solidFill>
                  <a:srgbClr val="485C69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Накопление данных, прогнозирование </a:t>
            </a:r>
            <a:endParaRPr lang="ru-RU" altLang="ru-RU" sz="1467" dirty="0">
              <a:solidFill>
                <a:srgbClr val="485C69"/>
              </a:solidFill>
              <a:latin typeface="Open Sans" charset="0"/>
              <a:cs typeface="Arial" panose="020B0604020202020204" pitchFamily="34" charset="0"/>
              <a:sym typeface="Open Sans" charset="0"/>
            </a:endParaRPr>
          </a:p>
        </p:txBody>
      </p:sp>
      <p:sp>
        <p:nvSpPr>
          <p:cNvPr id="19464" name="Shape 196"/>
          <p:cNvSpPr txBox="1">
            <a:spLocks noGrp="1"/>
          </p:cNvSpPr>
          <p:nvPr>
            <p:ph type="subTitle" idx="4294967295"/>
          </p:nvPr>
        </p:nvSpPr>
        <p:spPr>
          <a:xfrm>
            <a:off x="524682" y="1716651"/>
            <a:ext cx="3215467" cy="451534"/>
          </a:xfrm>
        </p:spPr>
        <p:txBody>
          <a:bodyPr/>
          <a:lstStyle/>
          <a:p>
            <a:pPr algn="r">
              <a:spcAft>
                <a:spcPts val="600"/>
              </a:spcAft>
              <a:buClr>
                <a:srgbClr val="000000"/>
              </a:buClr>
            </a:pPr>
            <a:r>
              <a:rPr lang="ru-RU" altLang="ru-RU" sz="1467" dirty="0" smtClean="0">
                <a:solidFill>
                  <a:srgbClr val="485C69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Трансляция результатов пилота в другие регионы и предприятия</a:t>
            </a:r>
            <a:endParaRPr lang="ru-RU" altLang="ru-RU" sz="1467" dirty="0">
              <a:solidFill>
                <a:srgbClr val="485C69"/>
              </a:solidFill>
              <a:latin typeface="Open Sans" charset="0"/>
              <a:cs typeface="Arial" panose="020B0604020202020204" pitchFamily="34" charset="0"/>
              <a:sym typeface="Open Sans" charset="0"/>
            </a:endParaRPr>
          </a:p>
        </p:txBody>
      </p:sp>
      <p:sp>
        <p:nvSpPr>
          <p:cNvPr id="19465" name="Shape 197"/>
          <p:cNvSpPr txBox="1">
            <a:spLocks noGrp="1"/>
          </p:cNvSpPr>
          <p:nvPr>
            <p:ph type="subTitle" idx="4294967295"/>
          </p:nvPr>
        </p:nvSpPr>
        <p:spPr>
          <a:xfrm>
            <a:off x="4663015" y="2644402"/>
            <a:ext cx="2611967" cy="955646"/>
          </a:xfrm>
        </p:spPr>
        <p:txBody>
          <a:bodyPr/>
          <a:lstStyle/>
          <a:p>
            <a:pPr algn="ctr">
              <a:lnSpc>
                <a:spcPct val="115000"/>
              </a:lnSpc>
              <a:spcAft>
                <a:spcPts val="2133"/>
              </a:spcAft>
              <a:buClr>
                <a:srgbClr val="595959"/>
              </a:buClr>
            </a:pPr>
            <a:r>
              <a:rPr lang="ru-RU" altLang="ru-RU" dirty="0" smtClean="0">
                <a:solidFill>
                  <a:srgbClr val="1272AF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Снижение заболеваемости и смертности</a:t>
            </a:r>
          </a:p>
        </p:txBody>
      </p:sp>
      <p:sp>
        <p:nvSpPr>
          <p:cNvPr id="19466" name="Shape 198"/>
          <p:cNvSpPr txBox="1">
            <a:spLocks noGrp="1"/>
          </p:cNvSpPr>
          <p:nvPr>
            <p:ph type="title"/>
          </p:nvPr>
        </p:nvSpPr>
        <p:spPr>
          <a:xfrm>
            <a:off x="370417" y="498169"/>
            <a:ext cx="9088967" cy="609600"/>
          </a:xfrm>
        </p:spPr>
        <p:txBody>
          <a:bodyPr/>
          <a:lstStyle/>
          <a:p>
            <a:pPr eaLnBrk="1" hangingPunct="1">
              <a:spcBef>
                <a:spcPct val="0"/>
              </a:spcBef>
              <a:buClr>
                <a:srgbClr val="000000"/>
              </a:buClr>
            </a:pPr>
            <a:r>
              <a:rPr lang="ru-RU" altLang="ru-RU" dirty="0" smtClean="0">
                <a:solidFill>
                  <a:srgbClr val="FFFFFF"/>
                </a:solidFill>
                <a:latin typeface="Roboto Condensed" charset="0"/>
                <a:cs typeface="Arial" panose="020B0604020202020204" pitchFamily="34" charset="0"/>
                <a:sym typeface="Roboto Condensed" charset="0"/>
              </a:rPr>
              <a:t>Проект «Доступная диетология»</a:t>
            </a:r>
          </a:p>
        </p:txBody>
      </p:sp>
      <p:cxnSp>
        <p:nvCxnSpPr>
          <p:cNvPr id="19467" name="Shape 199"/>
          <p:cNvCxnSpPr>
            <a:cxnSpLocks noChangeShapeType="1"/>
            <a:endCxn id="19474" idx="1"/>
          </p:cNvCxnSpPr>
          <p:nvPr/>
        </p:nvCxnSpPr>
        <p:spPr bwMode="auto">
          <a:xfrm rot="5400000">
            <a:off x="4561417" y="5686122"/>
            <a:ext cx="757767" cy="635000"/>
          </a:xfrm>
          <a:prstGeom prst="curvedConnector4">
            <a:avLst>
              <a:gd name="adj1" fmla="val 42884"/>
              <a:gd name="adj2" fmla="val 112069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468" name="Shape 201"/>
          <p:cNvCxnSpPr>
            <a:cxnSpLocks noChangeShapeType="1"/>
          </p:cNvCxnSpPr>
          <p:nvPr/>
        </p:nvCxnSpPr>
        <p:spPr bwMode="auto">
          <a:xfrm rot="10800000" flipH="1">
            <a:off x="7239000" y="4966454"/>
            <a:ext cx="662517" cy="273051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469" name="Shape 202"/>
          <p:cNvCxnSpPr>
            <a:cxnSpLocks noChangeShapeType="1"/>
          </p:cNvCxnSpPr>
          <p:nvPr/>
        </p:nvCxnSpPr>
        <p:spPr bwMode="auto">
          <a:xfrm rot="-5400000">
            <a:off x="7636935" y="2593671"/>
            <a:ext cx="675216" cy="488951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470" name="Shape 203"/>
          <p:cNvCxnSpPr>
            <a:cxnSpLocks noChangeShapeType="1"/>
          </p:cNvCxnSpPr>
          <p:nvPr/>
        </p:nvCxnSpPr>
        <p:spPr bwMode="auto">
          <a:xfrm>
            <a:off x="4550834" y="1958672"/>
            <a:ext cx="876300" cy="215900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471" name="Shape 204"/>
          <p:cNvCxnSpPr>
            <a:cxnSpLocks noChangeShapeType="1"/>
          </p:cNvCxnSpPr>
          <p:nvPr/>
        </p:nvCxnSpPr>
        <p:spPr bwMode="auto">
          <a:xfrm rot="10800000" flipH="1">
            <a:off x="3604684" y="3901772"/>
            <a:ext cx="499533" cy="29633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472" name="Shape 205"/>
          <p:cNvSpPr txBox="1">
            <a:spLocks noChangeArrowheads="1"/>
          </p:cNvSpPr>
          <p:nvPr/>
        </p:nvSpPr>
        <p:spPr bwMode="auto">
          <a:xfrm>
            <a:off x="8089900" y="1804154"/>
            <a:ext cx="499533" cy="956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0" tIns="121900" rIns="121900" bIns="121900"/>
          <a:lstStyle>
            <a:lvl1pPr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4800">
                <a:solidFill>
                  <a:srgbClr val="CADFED"/>
                </a:solidFill>
                <a:latin typeface="Roboto Condensed" charset="0"/>
                <a:sym typeface="Roboto Condensed" charset="0"/>
              </a:rPr>
              <a:t>1</a:t>
            </a:r>
          </a:p>
        </p:txBody>
      </p:sp>
      <p:sp>
        <p:nvSpPr>
          <p:cNvPr id="19473" name="Shape 206"/>
          <p:cNvSpPr txBox="1">
            <a:spLocks noChangeArrowheads="1"/>
          </p:cNvSpPr>
          <p:nvPr/>
        </p:nvSpPr>
        <p:spPr bwMode="auto">
          <a:xfrm>
            <a:off x="7893051" y="4490205"/>
            <a:ext cx="499533" cy="956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0" tIns="121900" rIns="121900" bIns="121900"/>
          <a:lstStyle>
            <a:lvl1pPr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4800">
                <a:solidFill>
                  <a:srgbClr val="CADFED"/>
                </a:solidFill>
                <a:latin typeface="Roboto Condensed" charset="0"/>
                <a:sym typeface="Roboto Condensed" charset="0"/>
              </a:rPr>
              <a:t>2</a:t>
            </a:r>
          </a:p>
        </p:txBody>
      </p:sp>
      <p:sp>
        <p:nvSpPr>
          <p:cNvPr id="19474" name="Shape 200"/>
          <p:cNvSpPr txBox="1">
            <a:spLocks noChangeArrowheads="1"/>
          </p:cNvSpPr>
          <p:nvPr/>
        </p:nvSpPr>
        <p:spPr bwMode="auto">
          <a:xfrm>
            <a:off x="4622800" y="5904138"/>
            <a:ext cx="499533" cy="956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0" tIns="121900" rIns="121900" bIns="121900"/>
          <a:lstStyle>
            <a:lvl1pPr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4800">
                <a:solidFill>
                  <a:srgbClr val="CADFED"/>
                </a:solidFill>
                <a:latin typeface="Roboto Condensed" charset="0"/>
                <a:sym typeface="Roboto Condensed" charset="0"/>
              </a:rPr>
              <a:t>3</a:t>
            </a:r>
          </a:p>
        </p:txBody>
      </p:sp>
      <p:sp>
        <p:nvSpPr>
          <p:cNvPr id="19475" name="Shape 207"/>
          <p:cNvSpPr txBox="1">
            <a:spLocks noChangeArrowheads="1"/>
          </p:cNvSpPr>
          <p:nvPr/>
        </p:nvSpPr>
        <p:spPr bwMode="auto">
          <a:xfrm>
            <a:off x="3105151" y="3668939"/>
            <a:ext cx="499533" cy="958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0" tIns="121900" rIns="121900" bIns="121900"/>
          <a:lstStyle>
            <a:lvl1pPr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4800">
                <a:solidFill>
                  <a:srgbClr val="CADFED"/>
                </a:solidFill>
                <a:latin typeface="Roboto Condensed" charset="0"/>
                <a:sym typeface="Roboto Condensed" charset="0"/>
              </a:rPr>
              <a:t>4</a:t>
            </a:r>
          </a:p>
        </p:txBody>
      </p:sp>
      <p:sp>
        <p:nvSpPr>
          <p:cNvPr id="19476" name="Shape 208"/>
          <p:cNvSpPr txBox="1">
            <a:spLocks noChangeArrowheads="1"/>
          </p:cNvSpPr>
          <p:nvPr/>
        </p:nvSpPr>
        <p:spPr bwMode="auto">
          <a:xfrm>
            <a:off x="3831167" y="1486654"/>
            <a:ext cx="499533" cy="956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00" tIns="121900" rIns="121900" bIns="121900"/>
          <a:lstStyle>
            <a:lvl1pPr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4800">
                <a:solidFill>
                  <a:srgbClr val="CADFED"/>
                </a:solidFill>
                <a:latin typeface="Roboto Condensed" charset="0"/>
                <a:sym typeface="Roboto Condensed" charset="0"/>
              </a:rPr>
              <a:t>5</a:t>
            </a:r>
          </a:p>
        </p:txBody>
      </p:sp>
      <p:sp>
        <p:nvSpPr>
          <p:cNvPr id="21" name="Shape 197"/>
          <p:cNvSpPr txBox="1">
            <a:spLocks/>
          </p:cNvSpPr>
          <p:nvPr/>
        </p:nvSpPr>
        <p:spPr>
          <a:xfrm>
            <a:off x="4673600" y="4607021"/>
            <a:ext cx="2611967" cy="6100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5000"/>
              </a:lnSpc>
              <a:buClr>
                <a:srgbClr val="595959"/>
              </a:buClr>
            </a:pPr>
            <a:r>
              <a:rPr lang="ru-RU" altLang="ru-RU" kern="0" dirty="0" smtClean="0">
                <a:solidFill>
                  <a:srgbClr val="1272AF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Экономический</a:t>
            </a:r>
          </a:p>
          <a:p>
            <a:pPr algn="ctr">
              <a:lnSpc>
                <a:spcPct val="115000"/>
              </a:lnSpc>
              <a:buClr>
                <a:srgbClr val="595959"/>
              </a:buClr>
            </a:pPr>
            <a:r>
              <a:rPr lang="ru-RU" altLang="ru-RU" kern="0" dirty="0" smtClean="0">
                <a:solidFill>
                  <a:srgbClr val="1272AF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 эффект</a:t>
            </a:r>
          </a:p>
        </p:txBody>
      </p:sp>
      <p:sp>
        <p:nvSpPr>
          <p:cNvPr id="22" name="Shape 197"/>
          <p:cNvSpPr txBox="1">
            <a:spLocks/>
          </p:cNvSpPr>
          <p:nvPr/>
        </p:nvSpPr>
        <p:spPr>
          <a:xfrm>
            <a:off x="4694767" y="3757760"/>
            <a:ext cx="2611967" cy="6370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277246">
              <a:defRPr>
                <a:latin typeface="+mn-lt"/>
                <a:ea typeface="+mn-ea"/>
                <a:cs typeface="+mn-cs"/>
              </a:defRPr>
            </a:lvl2pPr>
            <a:lvl3pPr marL="554492">
              <a:defRPr>
                <a:latin typeface="+mn-lt"/>
                <a:ea typeface="+mn-ea"/>
                <a:cs typeface="+mn-cs"/>
              </a:defRPr>
            </a:lvl3pPr>
            <a:lvl4pPr marL="831738">
              <a:defRPr>
                <a:latin typeface="+mn-lt"/>
                <a:ea typeface="+mn-ea"/>
                <a:cs typeface="+mn-cs"/>
              </a:defRPr>
            </a:lvl4pPr>
            <a:lvl5pPr marL="1108984">
              <a:defRPr>
                <a:latin typeface="+mn-lt"/>
                <a:ea typeface="+mn-ea"/>
                <a:cs typeface="+mn-cs"/>
              </a:defRPr>
            </a:lvl5pPr>
            <a:lvl6pPr marL="1386230">
              <a:defRPr>
                <a:latin typeface="+mn-lt"/>
                <a:ea typeface="+mn-ea"/>
                <a:cs typeface="+mn-cs"/>
              </a:defRPr>
            </a:lvl6pPr>
            <a:lvl7pPr marL="1663476">
              <a:defRPr>
                <a:latin typeface="+mn-lt"/>
                <a:ea typeface="+mn-ea"/>
                <a:cs typeface="+mn-cs"/>
              </a:defRPr>
            </a:lvl7pPr>
            <a:lvl8pPr marL="1940723">
              <a:defRPr>
                <a:latin typeface="+mn-lt"/>
                <a:ea typeface="+mn-ea"/>
                <a:cs typeface="+mn-cs"/>
              </a:defRPr>
            </a:lvl8pPr>
            <a:lvl9pPr marL="2217969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5000"/>
              </a:lnSpc>
              <a:buClr>
                <a:srgbClr val="595959"/>
              </a:buClr>
            </a:pPr>
            <a:r>
              <a:rPr lang="ru-RU" altLang="ru-RU" kern="0" dirty="0" smtClean="0">
                <a:solidFill>
                  <a:srgbClr val="1272AF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Повышение производительности</a:t>
            </a:r>
          </a:p>
        </p:txBody>
      </p:sp>
    </p:spTree>
    <p:extLst>
      <p:ext uri="{BB962C8B-B14F-4D97-AF65-F5344CB8AC3E}">
        <p14:creationId xmlns:p14="http://schemas.microsoft.com/office/powerpoint/2010/main" val="2206547440"/>
      </p:ext>
    </p:extLst>
  </p:cSld>
  <p:clrMapOvr>
    <a:masterClrMapping/>
  </p:clrMapOvr>
  <p:transition spd="slow">
    <p:cut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hape 248"/>
          <p:cNvSpPr txBox="1">
            <a:spLocks noGrp="1"/>
          </p:cNvSpPr>
          <p:nvPr>
            <p:ph type="title"/>
          </p:nvPr>
        </p:nvSpPr>
        <p:spPr>
          <a:xfrm>
            <a:off x="211418" y="397935"/>
            <a:ext cx="11328399" cy="984839"/>
          </a:xfrm>
        </p:spPr>
        <p:txBody>
          <a:bodyPr/>
          <a:lstStyle/>
          <a:p>
            <a:pPr eaLnBrk="1" hangingPunct="1">
              <a:spcBef>
                <a:spcPct val="0"/>
              </a:spcBef>
              <a:buClr>
                <a:srgbClr val="000000"/>
              </a:buClr>
            </a:pPr>
            <a:r>
              <a:rPr lang="ru-RU" altLang="ru-RU" dirty="0" smtClean="0">
                <a:solidFill>
                  <a:srgbClr val="FFFFFF"/>
                </a:solidFill>
                <a:latin typeface="Roboto Condensed" charset="0"/>
                <a:cs typeface="Arial" panose="020B0604020202020204" pitchFamily="34" charset="0"/>
                <a:sym typeface="Roboto Condensed" charset="0"/>
              </a:rPr>
              <a:t>Основа </a:t>
            </a:r>
            <a:r>
              <a:rPr lang="ru-RU" altLang="ru-RU" dirty="0">
                <a:solidFill>
                  <a:srgbClr val="FFFFFF"/>
                </a:solidFill>
                <a:latin typeface="Roboto Condensed" charset="0"/>
                <a:cs typeface="Arial" panose="020B0604020202020204" pitchFamily="34" charset="0"/>
                <a:sym typeface="Roboto Condensed" charset="0"/>
              </a:rPr>
              <a:t>превентивной </a:t>
            </a:r>
            <a:r>
              <a:rPr lang="ru-RU" altLang="ru-RU" dirty="0" smtClean="0">
                <a:solidFill>
                  <a:srgbClr val="FFFFFF"/>
                </a:solidFill>
                <a:latin typeface="Roboto Condensed" charset="0"/>
                <a:cs typeface="Arial" panose="020B0604020202020204" pitchFamily="34" charset="0"/>
                <a:sym typeface="Roboto Condensed" charset="0"/>
              </a:rPr>
              <a:t>медицины ближайшего будущего - прогнозирование результатов с использованием искусственного интеллекта</a:t>
            </a:r>
          </a:p>
        </p:txBody>
      </p:sp>
      <p:pic>
        <p:nvPicPr>
          <p:cNvPr id="20483" name="Shape 249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512" r="68092"/>
          <a:stretch>
            <a:fillRect/>
          </a:stretch>
        </p:blipFill>
        <p:spPr bwMode="auto">
          <a:xfrm>
            <a:off x="4110567" y="1697567"/>
            <a:ext cx="527051" cy="1024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4" name="Shape 250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36" r="33342"/>
          <a:stretch>
            <a:fillRect/>
          </a:stretch>
        </p:blipFill>
        <p:spPr bwMode="auto">
          <a:xfrm>
            <a:off x="4110567" y="4008967"/>
            <a:ext cx="527051" cy="1024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5" name="Shape 251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565" r="-3989"/>
          <a:stretch>
            <a:fillRect/>
          </a:stretch>
        </p:blipFill>
        <p:spPr bwMode="auto">
          <a:xfrm>
            <a:off x="4110567" y="5164667"/>
            <a:ext cx="527051" cy="1024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6" name="Shape 252"/>
          <p:cNvPicPr preferRelativeResize="0"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530" r="-22543"/>
          <a:stretch>
            <a:fillRect/>
          </a:stretch>
        </p:blipFill>
        <p:spPr bwMode="auto">
          <a:xfrm>
            <a:off x="4110567" y="2853267"/>
            <a:ext cx="527051" cy="1024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7" name="Shape 253"/>
          <p:cNvPicPr preferRelativeResize="0"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268"/>
          <a:stretch>
            <a:fillRect/>
          </a:stretch>
        </p:blipFill>
        <p:spPr bwMode="auto">
          <a:xfrm>
            <a:off x="1005417" y="1697568"/>
            <a:ext cx="1691216" cy="4491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488" name="Shape 254"/>
          <p:cNvCxnSpPr>
            <a:cxnSpLocks noChangeShapeType="1"/>
          </p:cNvCxnSpPr>
          <p:nvPr/>
        </p:nvCxnSpPr>
        <p:spPr bwMode="auto">
          <a:xfrm rot="10800000" flipH="1">
            <a:off x="2696634" y="2209801"/>
            <a:ext cx="1413933" cy="1733549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89" name="Shape 255"/>
          <p:cNvCxnSpPr>
            <a:cxnSpLocks noChangeShapeType="1"/>
          </p:cNvCxnSpPr>
          <p:nvPr/>
        </p:nvCxnSpPr>
        <p:spPr bwMode="auto">
          <a:xfrm rot="10800000" flipH="1">
            <a:off x="2696634" y="3365502"/>
            <a:ext cx="1413933" cy="577849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90" name="Shape 256"/>
          <p:cNvCxnSpPr>
            <a:cxnSpLocks noChangeShapeType="1"/>
          </p:cNvCxnSpPr>
          <p:nvPr/>
        </p:nvCxnSpPr>
        <p:spPr bwMode="auto">
          <a:xfrm>
            <a:off x="2696634" y="3943350"/>
            <a:ext cx="1413933" cy="577851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91" name="Shape 257"/>
          <p:cNvCxnSpPr>
            <a:cxnSpLocks noChangeShapeType="1"/>
          </p:cNvCxnSpPr>
          <p:nvPr/>
        </p:nvCxnSpPr>
        <p:spPr bwMode="auto">
          <a:xfrm>
            <a:off x="2696634" y="3943351"/>
            <a:ext cx="1413933" cy="1733551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492" name="Shape 258"/>
          <p:cNvSpPr txBox="1">
            <a:spLocks noGrp="1"/>
          </p:cNvSpPr>
          <p:nvPr>
            <p:ph type="subTitle" idx="4294967295"/>
          </p:nvPr>
        </p:nvSpPr>
        <p:spPr>
          <a:xfrm>
            <a:off x="3143251" y="6542617"/>
            <a:ext cx="2326216" cy="259623"/>
          </a:xfrm>
        </p:spPr>
        <p:txBody>
          <a:bodyPr/>
          <a:lstStyle/>
          <a:p>
            <a:pPr algn="ctr">
              <a:lnSpc>
                <a:spcPct val="115000"/>
              </a:lnSpc>
              <a:spcAft>
                <a:spcPts val="2133"/>
              </a:spcAft>
              <a:buClr>
                <a:srgbClr val="000000"/>
              </a:buClr>
            </a:pPr>
            <a:r>
              <a:rPr lang="ru-RU" altLang="ru-RU" sz="1467">
                <a:solidFill>
                  <a:srgbClr val="485C69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Модель метаболизма</a:t>
            </a:r>
          </a:p>
        </p:txBody>
      </p:sp>
      <p:sp>
        <p:nvSpPr>
          <p:cNvPr id="20493" name="Shape 259"/>
          <p:cNvSpPr txBox="1">
            <a:spLocks noGrp="1"/>
          </p:cNvSpPr>
          <p:nvPr>
            <p:ph type="subTitle" idx="4294967295"/>
          </p:nvPr>
        </p:nvSpPr>
        <p:spPr>
          <a:xfrm>
            <a:off x="6599767" y="6514042"/>
            <a:ext cx="2180167" cy="303189"/>
          </a:xfrm>
        </p:spPr>
        <p:txBody>
          <a:bodyPr/>
          <a:lstStyle/>
          <a:p>
            <a:pPr algn="ctr">
              <a:lnSpc>
                <a:spcPct val="115000"/>
              </a:lnSpc>
              <a:spcAft>
                <a:spcPts val="2133"/>
              </a:spcAft>
              <a:buClr>
                <a:srgbClr val="595959"/>
              </a:buClr>
            </a:pPr>
            <a:r>
              <a:rPr lang="ru-RU" altLang="ru-RU" sz="1467" dirty="0">
                <a:solidFill>
                  <a:srgbClr val="485C69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Рацион</a:t>
            </a:r>
          </a:p>
          <a:p>
            <a:pPr algn="ctr">
              <a:lnSpc>
                <a:spcPct val="115000"/>
              </a:lnSpc>
              <a:spcAft>
                <a:spcPts val="2133"/>
              </a:spcAft>
              <a:buClr>
                <a:srgbClr val="595959"/>
              </a:buClr>
            </a:pPr>
            <a:endParaRPr lang="ru-RU" altLang="ru-RU" sz="1467" dirty="0">
              <a:solidFill>
                <a:srgbClr val="485C69"/>
              </a:solidFill>
              <a:latin typeface="Open Sans" charset="0"/>
              <a:cs typeface="Arial" panose="020B0604020202020204" pitchFamily="34" charset="0"/>
              <a:sym typeface="Open Sans" charset="0"/>
            </a:endParaRPr>
          </a:p>
        </p:txBody>
      </p:sp>
      <p:sp>
        <p:nvSpPr>
          <p:cNvPr id="20494" name="Shape 260"/>
          <p:cNvSpPr txBox="1">
            <a:spLocks noGrp="1"/>
          </p:cNvSpPr>
          <p:nvPr>
            <p:ph type="subTitle" idx="4294967295"/>
          </p:nvPr>
        </p:nvSpPr>
        <p:spPr>
          <a:xfrm>
            <a:off x="9114367" y="6514043"/>
            <a:ext cx="2180167" cy="277650"/>
          </a:xfrm>
        </p:spPr>
        <p:txBody>
          <a:bodyPr/>
          <a:lstStyle/>
          <a:p>
            <a:pPr algn="ctr">
              <a:lnSpc>
                <a:spcPct val="115000"/>
              </a:lnSpc>
              <a:spcAft>
                <a:spcPts val="2133"/>
              </a:spcAft>
              <a:buClr>
                <a:srgbClr val="595959"/>
              </a:buClr>
            </a:pPr>
            <a:r>
              <a:rPr lang="ru-RU" altLang="ru-RU" sz="1467" dirty="0">
                <a:solidFill>
                  <a:srgbClr val="485C69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Прогноз</a:t>
            </a:r>
          </a:p>
          <a:p>
            <a:pPr algn="ctr">
              <a:lnSpc>
                <a:spcPct val="115000"/>
              </a:lnSpc>
              <a:spcAft>
                <a:spcPts val="2133"/>
              </a:spcAft>
              <a:buClr>
                <a:srgbClr val="595959"/>
              </a:buClr>
            </a:pPr>
            <a:endParaRPr lang="ru-RU" altLang="ru-RU" sz="1467" dirty="0">
              <a:solidFill>
                <a:srgbClr val="485C69"/>
              </a:solidFill>
              <a:latin typeface="Open Sans" charset="0"/>
              <a:cs typeface="Arial" panose="020B0604020202020204" pitchFamily="34" charset="0"/>
              <a:sym typeface="Open Sans" charset="0"/>
            </a:endParaRPr>
          </a:p>
        </p:txBody>
      </p:sp>
      <p:cxnSp>
        <p:nvCxnSpPr>
          <p:cNvPr id="20495" name="Shape 261"/>
          <p:cNvCxnSpPr>
            <a:cxnSpLocks noChangeShapeType="1"/>
          </p:cNvCxnSpPr>
          <p:nvPr/>
        </p:nvCxnSpPr>
        <p:spPr bwMode="auto">
          <a:xfrm>
            <a:off x="1083734" y="6470650"/>
            <a:ext cx="9952567" cy="0"/>
          </a:xfrm>
          <a:prstGeom prst="straightConnector1">
            <a:avLst/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20496" name="Shape 262"/>
          <p:cNvGrpSpPr>
            <a:grpSpLocks/>
          </p:cNvGrpSpPr>
          <p:nvPr/>
        </p:nvGrpSpPr>
        <p:grpSpPr bwMode="auto">
          <a:xfrm>
            <a:off x="7370233" y="1629835"/>
            <a:ext cx="603251" cy="800100"/>
            <a:chOff x="3627800" y="993725"/>
            <a:chExt cx="563700" cy="747900"/>
          </a:xfrm>
        </p:grpSpPr>
        <p:sp>
          <p:nvSpPr>
            <p:cNvPr id="20581" name="Shape 263"/>
            <p:cNvSpPr>
              <a:spLocks noChangeArrowheads="1"/>
            </p:cNvSpPr>
            <p:nvPr/>
          </p:nvSpPr>
          <p:spPr bwMode="auto">
            <a:xfrm>
              <a:off x="3627800" y="993725"/>
              <a:ext cx="563700" cy="747900"/>
            </a:xfrm>
            <a:prstGeom prst="roundRect">
              <a:avLst>
                <a:gd name="adj" fmla="val 16667"/>
              </a:avLst>
            </a:prstGeom>
            <a:solidFill>
              <a:srgbClr val="CADF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21900" tIns="121900" rIns="121900" bIns="121900" anchor="ctr"/>
            <a:lstStyle>
              <a:lvl1pPr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 sz="1867"/>
            </a:p>
          </p:txBody>
        </p:sp>
        <p:cxnSp>
          <p:nvCxnSpPr>
            <p:cNvPr id="20582" name="Shape 264"/>
            <p:cNvCxnSpPr>
              <a:cxnSpLocks noChangeShapeType="1"/>
            </p:cNvCxnSpPr>
            <p:nvPr/>
          </p:nvCxnSpPr>
          <p:spPr bwMode="auto">
            <a:xfrm>
              <a:off x="3735400" y="1144075"/>
              <a:ext cx="357000" cy="0"/>
            </a:xfrm>
            <a:prstGeom prst="straightConnector1">
              <a:avLst/>
            </a:prstGeom>
            <a:noFill/>
            <a:ln w="19050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83" name="Shape 265"/>
            <p:cNvCxnSpPr>
              <a:cxnSpLocks noChangeShapeType="1"/>
            </p:cNvCxnSpPr>
            <p:nvPr/>
          </p:nvCxnSpPr>
          <p:spPr bwMode="auto">
            <a:xfrm>
              <a:off x="3735400" y="1222719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84" name="Shape 266"/>
            <p:cNvCxnSpPr>
              <a:cxnSpLocks noChangeShapeType="1"/>
            </p:cNvCxnSpPr>
            <p:nvPr/>
          </p:nvCxnSpPr>
          <p:spPr bwMode="auto">
            <a:xfrm>
              <a:off x="3735400" y="1301364"/>
              <a:ext cx="1908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85" name="Shape 267"/>
            <p:cNvCxnSpPr>
              <a:cxnSpLocks noChangeShapeType="1"/>
            </p:cNvCxnSpPr>
            <p:nvPr/>
          </p:nvCxnSpPr>
          <p:spPr bwMode="auto">
            <a:xfrm>
              <a:off x="3735400" y="1414650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86" name="Shape 268"/>
            <p:cNvCxnSpPr>
              <a:cxnSpLocks noChangeShapeType="1"/>
            </p:cNvCxnSpPr>
            <p:nvPr/>
          </p:nvCxnSpPr>
          <p:spPr bwMode="auto">
            <a:xfrm>
              <a:off x="3735400" y="1493294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87" name="Shape 269"/>
            <p:cNvCxnSpPr>
              <a:cxnSpLocks noChangeShapeType="1"/>
            </p:cNvCxnSpPr>
            <p:nvPr/>
          </p:nvCxnSpPr>
          <p:spPr bwMode="auto">
            <a:xfrm>
              <a:off x="3735400" y="1571939"/>
              <a:ext cx="1908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0497" name="Shape 270"/>
          <p:cNvGrpSpPr>
            <a:grpSpLocks/>
          </p:cNvGrpSpPr>
          <p:nvPr/>
        </p:nvGrpSpPr>
        <p:grpSpPr bwMode="auto">
          <a:xfrm>
            <a:off x="7370233" y="2567517"/>
            <a:ext cx="603251" cy="797984"/>
            <a:chOff x="3656903" y="1840500"/>
            <a:chExt cx="563700" cy="747900"/>
          </a:xfrm>
        </p:grpSpPr>
        <p:sp>
          <p:nvSpPr>
            <p:cNvPr id="20574" name="Shape 271"/>
            <p:cNvSpPr>
              <a:spLocks noChangeArrowheads="1"/>
            </p:cNvSpPr>
            <p:nvPr/>
          </p:nvSpPr>
          <p:spPr bwMode="auto">
            <a:xfrm>
              <a:off x="3656903" y="1840500"/>
              <a:ext cx="563700" cy="747900"/>
            </a:xfrm>
            <a:prstGeom prst="roundRect">
              <a:avLst>
                <a:gd name="adj" fmla="val 16667"/>
              </a:avLst>
            </a:prstGeom>
            <a:solidFill>
              <a:srgbClr val="CADF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21900" tIns="121900" rIns="121900" bIns="121900" anchor="ctr"/>
            <a:lstStyle>
              <a:lvl1pPr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 sz="1867"/>
            </a:p>
          </p:txBody>
        </p:sp>
        <p:cxnSp>
          <p:nvCxnSpPr>
            <p:cNvPr id="20575" name="Shape 272"/>
            <p:cNvCxnSpPr>
              <a:cxnSpLocks noChangeShapeType="1"/>
            </p:cNvCxnSpPr>
            <p:nvPr/>
          </p:nvCxnSpPr>
          <p:spPr bwMode="auto">
            <a:xfrm>
              <a:off x="3764503" y="1990850"/>
              <a:ext cx="186000" cy="0"/>
            </a:xfrm>
            <a:prstGeom prst="straightConnector1">
              <a:avLst/>
            </a:prstGeom>
            <a:noFill/>
            <a:ln w="19050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76" name="Shape 273"/>
            <p:cNvCxnSpPr>
              <a:cxnSpLocks noChangeShapeType="1"/>
            </p:cNvCxnSpPr>
            <p:nvPr/>
          </p:nvCxnSpPr>
          <p:spPr bwMode="auto">
            <a:xfrm>
              <a:off x="3764503" y="2069494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77" name="Shape 274"/>
            <p:cNvCxnSpPr>
              <a:cxnSpLocks noChangeShapeType="1"/>
            </p:cNvCxnSpPr>
            <p:nvPr/>
          </p:nvCxnSpPr>
          <p:spPr bwMode="auto">
            <a:xfrm>
              <a:off x="3764503" y="2148139"/>
              <a:ext cx="2739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78" name="Shape 275"/>
            <p:cNvCxnSpPr>
              <a:cxnSpLocks noChangeShapeType="1"/>
            </p:cNvCxnSpPr>
            <p:nvPr/>
          </p:nvCxnSpPr>
          <p:spPr bwMode="auto">
            <a:xfrm>
              <a:off x="3764503" y="2261425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79" name="Shape 276"/>
            <p:cNvCxnSpPr>
              <a:cxnSpLocks noChangeShapeType="1"/>
            </p:cNvCxnSpPr>
            <p:nvPr/>
          </p:nvCxnSpPr>
          <p:spPr bwMode="auto">
            <a:xfrm>
              <a:off x="3764503" y="2340069"/>
              <a:ext cx="2739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80" name="Shape 277"/>
            <p:cNvCxnSpPr>
              <a:cxnSpLocks noChangeShapeType="1"/>
            </p:cNvCxnSpPr>
            <p:nvPr/>
          </p:nvCxnSpPr>
          <p:spPr bwMode="auto">
            <a:xfrm>
              <a:off x="3764503" y="2418714"/>
              <a:ext cx="1908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0498" name="Shape 278"/>
          <p:cNvGrpSpPr>
            <a:grpSpLocks/>
          </p:cNvGrpSpPr>
          <p:nvPr/>
        </p:nvGrpSpPr>
        <p:grpSpPr bwMode="auto">
          <a:xfrm>
            <a:off x="7370233" y="3503084"/>
            <a:ext cx="603251" cy="800100"/>
            <a:chOff x="3627800" y="993725"/>
            <a:chExt cx="563700" cy="747900"/>
          </a:xfrm>
        </p:grpSpPr>
        <p:sp>
          <p:nvSpPr>
            <p:cNvPr id="20567" name="Shape 279"/>
            <p:cNvSpPr>
              <a:spLocks noChangeArrowheads="1"/>
            </p:cNvSpPr>
            <p:nvPr/>
          </p:nvSpPr>
          <p:spPr bwMode="auto">
            <a:xfrm>
              <a:off x="3627800" y="993725"/>
              <a:ext cx="563700" cy="747900"/>
            </a:xfrm>
            <a:prstGeom prst="roundRect">
              <a:avLst>
                <a:gd name="adj" fmla="val 16667"/>
              </a:avLst>
            </a:prstGeom>
            <a:solidFill>
              <a:srgbClr val="CADF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21900" tIns="121900" rIns="121900" bIns="121900" anchor="ctr"/>
            <a:lstStyle>
              <a:lvl1pPr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 sz="1867"/>
            </a:p>
          </p:txBody>
        </p:sp>
        <p:cxnSp>
          <p:nvCxnSpPr>
            <p:cNvPr id="20568" name="Shape 280"/>
            <p:cNvCxnSpPr>
              <a:cxnSpLocks noChangeShapeType="1"/>
            </p:cNvCxnSpPr>
            <p:nvPr/>
          </p:nvCxnSpPr>
          <p:spPr bwMode="auto">
            <a:xfrm>
              <a:off x="3735400" y="1144075"/>
              <a:ext cx="357000" cy="0"/>
            </a:xfrm>
            <a:prstGeom prst="straightConnector1">
              <a:avLst/>
            </a:prstGeom>
            <a:noFill/>
            <a:ln w="19050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69" name="Shape 281"/>
            <p:cNvCxnSpPr>
              <a:cxnSpLocks noChangeShapeType="1"/>
            </p:cNvCxnSpPr>
            <p:nvPr/>
          </p:nvCxnSpPr>
          <p:spPr bwMode="auto">
            <a:xfrm>
              <a:off x="3735400" y="1222719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70" name="Shape 282"/>
            <p:cNvCxnSpPr>
              <a:cxnSpLocks noChangeShapeType="1"/>
            </p:cNvCxnSpPr>
            <p:nvPr/>
          </p:nvCxnSpPr>
          <p:spPr bwMode="auto">
            <a:xfrm>
              <a:off x="3735400" y="1301364"/>
              <a:ext cx="1908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71" name="Shape 283"/>
            <p:cNvCxnSpPr>
              <a:cxnSpLocks noChangeShapeType="1"/>
            </p:cNvCxnSpPr>
            <p:nvPr/>
          </p:nvCxnSpPr>
          <p:spPr bwMode="auto">
            <a:xfrm>
              <a:off x="3735400" y="1414650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72" name="Shape 284"/>
            <p:cNvCxnSpPr>
              <a:cxnSpLocks noChangeShapeType="1"/>
            </p:cNvCxnSpPr>
            <p:nvPr/>
          </p:nvCxnSpPr>
          <p:spPr bwMode="auto">
            <a:xfrm>
              <a:off x="3735400" y="1493294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73" name="Shape 285"/>
            <p:cNvCxnSpPr>
              <a:cxnSpLocks noChangeShapeType="1"/>
            </p:cNvCxnSpPr>
            <p:nvPr/>
          </p:nvCxnSpPr>
          <p:spPr bwMode="auto">
            <a:xfrm>
              <a:off x="3735400" y="1571939"/>
              <a:ext cx="1908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0499" name="Shape 286"/>
          <p:cNvGrpSpPr>
            <a:grpSpLocks/>
          </p:cNvGrpSpPr>
          <p:nvPr/>
        </p:nvGrpSpPr>
        <p:grpSpPr bwMode="auto">
          <a:xfrm>
            <a:off x="7370233" y="4440768"/>
            <a:ext cx="603251" cy="797983"/>
            <a:chOff x="3627800" y="993725"/>
            <a:chExt cx="563700" cy="747900"/>
          </a:xfrm>
        </p:grpSpPr>
        <p:sp>
          <p:nvSpPr>
            <p:cNvPr id="20560" name="Shape 287"/>
            <p:cNvSpPr>
              <a:spLocks noChangeArrowheads="1"/>
            </p:cNvSpPr>
            <p:nvPr/>
          </p:nvSpPr>
          <p:spPr bwMode="auto">
            <a:xfrm>
              <a:off x="3627800" y="993725"/>
              <a:ext cx="563700" cy="747900"/>
            </a:xfrm>
            <a:prstGeom prst="roundRect">
              <a:avLst>
                <a:gd name="adj" fmla="val 16667"/>
              </a:avLst>
            </a:prstGeom>
            <a:solidFill>
              <a:srgbClr val="CADF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21900" tIns="121900" rIns="121900" bIns="121900" anchor="ctr"/>
            <a:lstStyle>
              <a:lvl1pPr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 sz="1867"/>
            </a:p>
          </p:txBody>
        </p:sp>
        <p:cxnSp>
          <p:nvCxnSpPr>
            <p:cNvPr id="20561" name="Shape 288"/>
            <p:cNvCxnSpPr>
              <a:cxnSpLocks noChangeShapeType="1"/>
            </p:cNvCxnSpPr>
            <p:nvPr/>
          </p:nvCxnSpPr>
          <p:spPr bwMode="auto">
            <a:xfrm>
              <a:off x="3735400" y="1144075"/>
              <a:ext cx="357000" cy="0"/>
            </a:xfrm>
            <a:prstGeom prst="straightConnector1">
              <a:avLst/>
            </a:prstGeom>
            <a:noFill/>
            <a:ln w="19050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62" name="Shape 289"/>
            <p:cNvCxnSpPr>
              <a:cxnSpLocks noChangeShapeType="1"/>
            </p:cNvCxnSpPr>
            <p:nvPr/>
          </p:nvCxnSpPr>
          <p:spPr bwMode="auto">
            <a:xfrm>
              <a:off x="3735400" y="1222719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63" name="Shape 290"/>
            <p:cNvCxnSpPr>
              <a:cxnSpLocks noChangeShapeType="1"/>
            </p:cNvCxnSpPr>
            <p:nvPr/>
          </p:nvCxnSpPr>
          <p:spPr bwMode="auto">
            <a:xfrm>
              <a:off x="3735400" y="1301364"/>
              <a:ext cx="1908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64" name="Shape 291"/>
            <p:cNvCxnSpPr>
              <a:cxnSpLocks noChangeShapeType="1"/>
            </p:cNvCxnSpPr>
            <p:nvPr/>
          </p:nvCxnSpPr>
          <p:spPr bwMode="auto">
            <a:xfrm>
              <a:off x="3735400" y="1414650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65" name="Shape 292"/>
            <p:cNvCxnSpPr>
              <a:cxnSpLocks noChangeShapeType="1"/>
            </p:cNvCxnSpPr>
            <p:nvPr/>
          </p:nvCxnSpPr>
          <p:spPr bwMode="auto">
            <a:xfrm>
              <a:off x="3735400" y="1493294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66" name="Shape 293"/>
            <p:cNvCxnSpPr>
              <a:cxnSpLocks noChangeShapeType="1"/>
            </p:cNvCxnSpPr>
            <p:nvPr/>
          </p:nvCxnSpPr>
          <p:spPr bwMode="auto">
            <a:xfrm>
              <a:off x="3735400" y="1571939"/>
              <a:ext cx="1908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0500" name="Shape 294"/>
          <p:cNvGrpSpPr>
            <a:grpSpLocks/>
          </p:cNvGrpSpPr>
          <p:nvPr/>
        </p:nvGrpSpPr>
        <p:grpSpPr bwMode="auto">
          <a:xfrm>
            <a:off x="7370233" y="5376335"/>
            <a:ext cx="603251" cy="800100"/>
            <a:chOff x="3627800" y="993725"/>
            <a:chExt cx="563700" cy="747900"/>
          </a:xfrm>
        </p:grpSpPr>
        <p:sp>
          <p:nvSpPr>
            <p:cNvPr id="20553" name="Shape 295"/>
            <p:cNvSpPr>
              <a:spLocks noChangeArrowheads="1"/>
            </p:cNvSpPr>
            <p:nvPr/>
          </p:nvSpPr>
          <p:spPr bwMode="auto">
            <a:xfrm>
              <a:off x="3627800" y="993725"/>
              <a:ext cx="563700" cy="747900"/>
            </a:xfrm>
            <a:prstGeom prst="roundRect">
              <a:avLst>
                <a:gd name="adj" fmla="val 16667"/>
              </a:avLst>
            </a:prstGeom>
            <a:solidFill>
              <a:srgbClr val="CADF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21900" tIns="121900" rIns="121900" bIns="121900" anchor="ctr"/>
            <a:lstStyle>
              <a:lvl1pPr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 sz="1867"/>
            </a:p>
          </p:txBody>
        </p:sp>
        <p:cxnSp>
          <p:nvCxnSpPr>
            <p:cNvPr id="20554" name="Shape 296"/>
            <p:cNvCxnSpPr>
              <a:cxnSpLocks noChangeShapeType="1"/>
            </p:cNvCxnSpPr>
            <p:nvPr/>
          </p:nvCxnSpPr>
          <p:spPr bwMode="auto">
            <a:xfrm>
              <a:off x="3735400" y="1144075"/>
              <a:ext cx="357000" cy="0"/>
            </a:xfrm>
            <a:prstGeom prst="straightConnector1">
              <a:avLst/>
            </a:prstGeom>
            <a:noFill/>
            <a:ln w="19050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55" name="Shape 297"/>
            <p:cNvCxnSpPr>
              <a:cxnSpLocks noChangeShapeType="1"/>
            </p:cNvCxnSpPr>
            <p:nvPr/>
          </p:nvCxnSpPr>
          <p:spPr bwMode="auto">
            <a:xfrm>
              <a:off x="3735400" y="1222719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56" name="Shape 298"/>
            <p:cNvCxnSpPr>
              <a:cxnSpLocks noChangeShapeType="1"/>
            </p:cNvCxnSpPr>
            <p:nvPr/>
          </p:nvCxnSpPr>
          <p:spPr bwMode="auto">
            <a:xfrm>
              <a:off x="3735400" y="1301364"/>
              <a:ext cx="1908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57" name="Shape 299"/>
            <p:cNvCxnSpPr>
              <a:cxnSpLocks noChangeShapeType="1"/>
            </p:cNvCxnSpPr>
            <p:nvPr/>
          </p:nvCxnSpPr>
          <p:spPr bwMode="auto">
            <a:xfrm>
              <a:off x="3735400" y="1414650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58" name="Shape 300"/>
            <p:cNvCxnSpPr>
              <a:cxnSpLocks noChangeShapeType="1"/>
            </p:cNvCxnSpPr>
            <p:nvPr/>
          </p:nvCxnSpPr>
          <p:spPr bwMode="auto">
            <a:xfrm>
              <a:off x="3735400" y="1493294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59" name="Shape 301"/>
            <p:cNvCxnSpPr>
              <a:cxnSpLocks noChangeShapeType="1"/>
            </p:cNvCxnSpPr>
            <p:nvPr/>
          </p:nvCxnSpPr>
          <p:spPr bwMode="auto">
            <a:xfrm>
              <a:off x="3735400" y="1571939"/>
              <a:ext cx="1908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20501" name="Shape 302"/>
          <p:cNvCxnSpPr>
            <a:cxnSpLocks noChangeShapeType="1"/>
            <a:endCxn id="20581" idx="1"/>
          </p:cNvCxnSpPr>
          <p:nvPr/>
        </p:nvCxnSpPr>
        <p:spPr bwMode="auto">
          <a:xfrm rot="10800000" flipH="1">
            <a:off x="4637617" y="2029884"/>
            <a:ext cx="2732616" cy="179917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02" name="Shape 303"/>
          <p:cNvCxnSpPr>
            <a:cxnSpLocks noChangeShapeType="1"/>
            <a:stCxn id="20560" idx="1"/>
          </p:cNvCxnSpPr>
          <p:nvPr/>
        </p:nvCxnSpPr>
        <p:spPr bwMode="auto">
          <a:xfrm rot="10800000">
            <a:off x="4637617" y="2209801"/>
            <a:ext cx="2732616" cy="2628900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03" name="Shape 304"/>
          <p:cNvCxnSpPr>
            <a:cxnSpLocks noChangeShapeType="1"/>
            <a:endCxn id="20574" idx="1"/>
          </p:cNvCxnSpPr>
          <p:nvPr/>
        </p:nvCxnSpPr>
        <p:spPr bwMode="auto">
          <a:xfrm rot="10800000" flipH="1">
            <a:off x="4637617" y="2967568"/>
            <a:ext cx="2732616" cy="39793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04" name="Shape 305"/>
          <p:cNvCxnSpPr>
            <a:cxnSpLocks noChangeShapeType="1"/>
            <a:stCxn id="20560" idx="1"/>
          </p:cNvCxnSpPr>
          <p:nvPr/>
        </p:nvCxnSpPr>
        <p:spPr bwMode="auto">
          <a:xfrm rot="10800000">
            <a:off x="4637617" y="3365501"/>
            <a:ext cx="2732616" cy="1473200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05" name="Shape 306"/>
          <p:cNvCxnSpPr>
            <a:cxnSpLocks noChangeShapeType="1"/>
            <a:endCxn id="20567" idx="1"/>
          </p:cNvCxnSpPr>
          <p:nvPr/>
        </p:nvCxnSpPr>
        <p:spPr bwMode="auto">
          <a:xfrm rot="10800000" flipH="1">
            <a:off x="4637617" y="3903134"/>
            <a:ext cx="2732616" cy="618067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06" name="Shape 307"/>
          <p:cNvCxnSpPr>
            <a:cxnSpLocks noChangeShapeType="1"/>
            <a:stCxn id="20553" idx="1"/>
          </p:cNvCxnSpPr>
          <p:nvPr/>
        </p:nvCxnSpPr>
        <p:spPr bwMode="auto">
          <a:xfrm rot="10800000">
            <a:off x="4637617" y="4521201"/>
            <a:ext cx="2732616" cy="125518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07" name="Shape 308"/>
          <p:cNvCxnSpPr>
            <a:cxnSpLocks noChangeShapeType="1"/>
            <a:endCxn id="20581" idx="1"/>
          </p:cNvCxnSpPr>
          <p:nvPr/>
        </p:nvCxnSpPr>
        <p:spPr bwMode="auto">
          <a:xfrm rot="10800000" flipH="1">
            <a:off x="4637617" y="2029884"/>
            <a:ext cx="2732616" cy="3647017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08" name="Shape 309"/>
          <p:cNvCxnSpPr>
            <a:cxnSpLocks noChangeShapeType="1"/>
            <a:endCxn id="20553" idx="1"/>
          </p:cNvCxnSpPr>
          <p:nvPr/>
        </p:nvCxnSpPr>
        <p:spPr bwMode="auto">
          <a:xfrm>
            <a:off x="4637617" y="5676901"/>
            <a:ext cx="2732616" cy="9948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20509" name="Shape 310"/>
          <p:cNvGrpSpPr>
            <a:grpSpLocks/>
          </p:cNvGrpSpPr>
          <p:nvPr/>
        </p:nvGrpSpPr>
        <p:grpSpPr bwMode="auto">
          <a:xfrm>
            <a:off x="9565218" y="1638301"/>
            <a:ext cx="1454149" cy="726016"/>
            <a:chOff x="6258770" y="928375"/>
            <a:chExt cx="1141499" cy="570300"/>
          </a:xfrm>
        </p:grpSpPr>
        <p:cxnSp>
          <p:nvCxnSpPr>
            <p:cNvPr id="20547" name="Shape 311"/>
            <p:cNvCxnSpPr>
              <a:cxnSpLocks noChangeShapeType="1"/>
            </p:cNvCxnSpPr>
            <p:nvPr/>
          </p:nvCxnSpPr>
          <p:spPr bwMode="auto">
            <a:xfrm rot="10800000" flipH="1">
              <a:off x="6413200" y="1097814"/>
              <a:ext cx="207900" cy="2763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oval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48" name="Shape 312"/>
            <p:cNvCxnSpPr>
              <a:cxnSpLocks noChangeShapeType="1"/>
            </p:cNvCxnSpPr>
            <p:nvPr/>
          </p:nvCxnSpPr>
          <p:spPr bwMode="auto">
            <a:xfrm rot="10800000" flipH="1">
              <a:off x="6792125" y="1075989"/>
              <a:ext cx="386400" cy="21990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49" name="Shape 313"/>
            <p:cNvCxnSpPr>
              <a:cxnSpLocks noChangeShapeType="1"/>
            </p:cNvCxnSpPr>
            <p:nvPr/>
          </p:nvCxnSpPr>
          <p:spPr bwMode="auto">
            <a:xfrm>
              <a:off x="6598975" y="1119864"/>
              <a:ext cx="207900" cy="1980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50" name="Shape 314"/>
            <p:cNvCxnSpPr>
              <a:cxnSpLocks noChangeShapeType="1"/>
            </p:cNvCxnSpPr>
            <p:nvPr/>
          </p:nvCxnSpPr>
          <p:spPr bwMode="auto">
            <a:xfrm>
              <a:off x="6288525" y="928375"/>
              <a:ext cx="0" cy="5703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triangl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51" name="Shape 315"/>
            <p:cNvCxnSpPr>
              <a:cxnSpLocks noChangeShapeType="1"/>
            </p:cNvCxnSpPr>
            <p:nvPr/>
          </p:nvCxnSpPr>
          <p:spPr bwMode="auto">
            <a:xfrm>
              <a:off x="6258770" y="1484007"/>
              <a:ext cx="1141499" cy="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oval" w="lg" len="lg"/>
              <a:tailEnd type="triangl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52" name="Shape 316"/>
            <p:cNvCxnSpPr>
              <a:cxnSpLocks noChangeShapeType="1"/>
            </p:cNvCxnSpPr>
            <p:nvPr/>
          </p:nvCxnSpPr>
          <p:spPr bwMode="auto">
            <a:xfrm rot="10800000">
              <a:off x="6782346" y="929000"/>
              <a:ext cx="0" cy="55500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prstDash val="dash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0510" name="Shape 317"/>
          <p:cNvGrpSpPr>
            <a:grpSpLocks/>
          </p:cNvGrpSpPr>
          <p:nvPr/>
        </p:nvGrpSpPr>
        <p:grpSpPr bwMode="auto">
          <a:xfrm>
            <a:off x="9565218" y="2586567"/>
            <a:ext cx="1454149" cy="726016"/>
            <a:chOff x="6258770" y="1614175"/>
            <a:chExt cx="1141499" cy="570300"/>
          </a:xfrm>
        </p:grpSpPr>
        <p:cxnSp>
          <p:nvCxnSpPr>
            <p:cNvPr id="20541" name="Shape 318"/>
            <p:cNvCxnSpPr>
              <a:cxnSpLocks noChangeShapeType="1"/>
            </p:cNvCxnSpPr>
            <p:nvPr/>
          </p:nvCxnSpPr>
          <p:spPr bwMode="auto">
            <a:xfrm rot="10800000" flipH="1">
              <a:off x="6413200" y="1783614"/>
              <a:ext cx="207900" cy="2763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oval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42" name="Shape 319"/>
            <p:cNvCxnSpPr>
              <a:cxnSpLocks noChangeShapeType="1"/>
            </p:cNvCxnSpPr>
            <p:nvPr/>
          </p:nvCxnSpPr>
          <p:spPr bwMode="auto">
            <a:xfrm>
              <a:off x="6792125" y="1981689"/>
              <a:ext cx="434100" cy="10110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43" name="Shape 320"/>
            <p:cNvCxnSpPr>
              <a:cxnSpLocks noChangeShapeType="1"/>
            </p:cNvCxnSpPr>
            <p:nvPr/>
          </p:nvCxnSpPr>
          <p:spPr bwMode="auto">
            <a:xfrm>
              <a:off x="6598975" y="1805664"/>
              <a:ext cx="207900" cy="1980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44" name="Shape 321"/>
            <p:cNvCxnSpPr>
              <a:cxnSpLocks noChangeShapeType="1"/>
            </p:cNvCxnSpPr>
            <p:nvPr/>
          </p:nvCxnSpPr>
          <p:spPr bwMode="auto">
            <a:xfrm>
              <a:off x="6288525" y="1614175"/>
              <a:ext cx="0" cy="5703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triangl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45" name="Shape 322"/>
            <p:cNvCxnSpPr>
              <a:cxnSpLocks noChangeShapeType="1"/>
            </p:cNvCxnSpPr>
            <p:nvPr/>
          </p:nvCxnSpPr>
          <p:spPr bwMode="auto">
            <a:xfrm>
              <a:off x="6258770" y="2169807"/>
              <a:ext cx="1141499" cy="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oval" w="lg" len="lg"/>
              <a:tailEnd type="triangl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46" name="Shape 323"/>
            <p:cNvCxnSpPr>
              <a:cxnSpLocks noChangeShapeType="1"/>
            </p:cNvCxnSpPr>
            <p:nvPr/>
          </p:nvCxnSpPr>
          <p:spPr bwMode="auto">
            <a:xfrm rot="10800000">
              <a:off x="6782346" y="1614800"/>
              <a:ext cx="0" cy="55500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prstDash val="dash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0511" name="Shape 324"/>
          <p:cNvGrpSpPr>
            <a:grpSpLocks/>
          </p:cNvGrpSpPr>
          <p:nvPr/>
        </p:nvGrpSpPr>
        <p:grpSpPr bwMode="auto">
          <a:xfrm>
            <a:off x="9565218" y="3534834"/>
            <a:ext cx="1454149" cy="726016"/>
            <a:chOff x="6258770" y="2299975"/>
            <a:chExt cx="1141499" cy="570300"/>
          </a:xfrm>
        </p:grpSpPr>
        <p:cxnSp>
          <p:nvCxnSpPr>
            <p:cNvPr id="20535" name="Shape 325"/>
            <p:cNvCxnSpPr>
              <a:cxnSpLocks noChangeShapeType="1"/>
            </p:cNvCxnSpPr>
            <p:nvPr/>
          </p:nvCxnSpPr>
          <p:spPr bwMode="auto">
            <a:xfrm rot="10800000" flipH="1">
              <a:off x="6413200" y="2469414"/>
              <a:ext cx="207900" cy="2763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oval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36" name="Shape 326"/>
            <p:cNvCxnSpPr>
              <a:cxnSpLocks noChangeShapeType="1"/>
            </p:cNvCxnSpPr>
            <p:nvPr/>
          </p:nvCxnSpPr>
          <p:spPr bwMode="auto">
            <a:xfrm>
              <a:off x="6792125" y="2667489"/>
              <a:ext cx="4341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37" name="Shape 327"/>
            <p:cNvCxnSpPr>
              <a:cxnSpLocks noChangeShapeType="1"/>
            </p:cNvCxnSpPr>
            <p:nvPr/>
          </p:nvCxnSpPr>
          <p:spPr bwMode="auto">
            <a:xfrm>
              <a:off x="6598975" y="2491464"/>
              <a:ext cx="207900" cy="1980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38" name="Shape 328"/>
            <p:cNvCxnSpPr>
              <a:cxnSpLocks noChangeShapeType="1"/>
            </p:cNvCxnSpPr>
            <p:nvPr/>
          </p:nvCxnSpPr>
          <p:spPr bwMode="auto">
            <a:xfrm>
              <a:off x="6288525" y="2299975"/>
              <a:ext cx="0" cy="5703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triangl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39" name="Shape 329"/>
            <p:cNvCxnSpPr>
              <a:cxnSpLocks noChangeShapeType="1"/>
            </p:cNvCxnSpPr>
            <p:nvPr/>
          </p:nvCxnSpPr>
          <p:spPr bwMode="auto">
            <a:xfrm>
              <a:off x="6258770" y="2855607"/>
              <a:ext cx="1141499" cy="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oval" w="lg" len="lg"/>
              <a:tailEnd type="triangl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40" name="Shape 330"/>
            <p:cNvCxnSpPr>
              <a:cxnSpLocks noChangeShapeType="1"/>
            </p:cNvCxnSpPr>
            <p:nvPr/>
          </p:nvCxnSpPr>
          <p:spPr bwMode="auto">
            <a:xfrm rot="10800000">
              <a:off x="6782346" y="2300600"/>
              <a:ext cx="0" cy="55500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prstDash val="dash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0512" name="Shape 331"/>
          <p:cNvGrpSpPr>
            <a:grpSpLocks/>
          </p:cNvGrpSpPr>
          <p:nvPr/>
        </p:nvGrpSpPr>
        <p:grpSpPr bwMode="auto">
          <a:xfrm>
            <a:off x="9565218" y="4483101"/>
            <a:ext cx="1454149" cy="726016"/>
            <a:chOff x="6258770" y="2985775"/>
            <a:chExt cx="1141499" cy="570300"/>
          </a:xfrm>
        </p:grpSpPr>
        <p:cxnSp>
          <p:nvCxnSpPr>
            <p:cNvPr id="20529" name="Shape 332"/>
            <p:cNvCxnSpPr>
              <a:cxnSpLocks noChangeShapeType="1"/>
            </p:cNvCxnSpPr>
            <p:nvPr/>
          </p:nvCxnSpPr>
          <p:spPr bwMode="auto">
            <a:xfrm rot="10800000" flipH="1">
              <a:off x="6775775" y="3128362"/>
              <a:ext cx="466800" cy="229800"/>
            </a:xfrm>
            <a:prstGeom prst="curvedConnector3">
              <a:avLst>
                <a:gd name="adj1" fmla="val 50000"/>
              </a:avLst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30" name="Shape 333"/>
            <p:cNvCxnSpPr>
              <a:cxnSpLocks noChangeShapeType="1"/>
            </p:cNvCxnSpPr>
            <p:nvPr/>
          </p:nvCxnSpPr>
          <p:spPr bwMode="auto">
            <a:xfrm rot="10800000" flipH="1">
              <a:off x="6413200" y="3155214"/>
              <a:ext cx="207900" cy="2763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oval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31" name="Shape 334"/>
            <p:cNvCxnSpPr>
              <a:cxnSpLocks noChangeShapeType="1"/>
            </p:cNvCxnSpPr>
            <p:nvPr/>
          </p:nvCxnSpPr>
          <p:spPr bwMode="auto">
            <a:xfrm>
              <a:off x="6598975" y="3177264"/>
              <a:ext cx="207900" cy="1980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32" name="Shape 335"/>
            <p:cNvCxnSpPr>
              <a:cxnSpLocks noChangeShapeType="1"/>
            </p:cNvCxnSpPr>
            <p:nvPr/>
          </p:nvCxnSpPr>
          <p:spPr bwMode="auto">
            <a:xfrm>
              <a:off x="6288525" y="2985775"/>
              <a:ext cx="0" cy="5703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triangl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33" name="Shape 336"/>
            <p:cNvCxnSpPr>
              <a:cxnSpLocks noChangeShapeType="1"/>
            </p:cNvCxnSpPr>
            <p:nvPr/>
          </p:nvCxnSpPr>
          <p:spPr bwMode="auto">
            <a:xfrm>
              <a:off x="6258770" y="3541407"/>
              <a:ext cx="1141499" cy="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oval" w="lg" len="lg"/>
              <a:tailEnd type="triangl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34" name="Shape 337"/>
            <p:cNvCxnSpPr>
              <a:cxnSpLocks noChangeShapeType="1"/>
            </p:cNvCxnSpPr>
            <p:nvPr/>
          </p:nvCxnSpPr>
          <p:spPr bwMode="auto">
            <a:xfrm rot="10800000">
              <a:off x="6782346" y="2986400"/>
              <a:ext cx="0" cy="55500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prstDash val="dash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0513" name="Shape 338"/>
          <p:cNvGrpSpPr>
            <a:grpSpLocks/>
          </p:cNvGrpSpPr>
          <p:nvPr/>
        </p:nvGrpSpPr>
        <p:grpSpPr bwMode="auto">
          <a:xfrm>
            <a:off x="9565218" y="5431367"/>
            <a:ext cx="1454149" cy="726016"/>
            <a:chOff x="6264074" y="3651275"/>
            <a:chExt cx="1141500" cy="570300"/>
          </a:xfrm>
        </p:grpSpPr>
        <p:cxnSp>
          <p:nvCxnSpPr>
            <p:cNvPr id="20523" name="Shape 339"/>
            <p:cNvCxnSpPr>
              <a:cxnSpLocks noChangeShapeType="1"/>
            </p:cNvCxnSpPr>
            <p:nvPr/>
          </p:nvCxnSpPr>
          <p:spPr bwMode="auto">
            <a:xfrm>
              <a:off x="6786300" y="3935850"/>
              <a:ext cx="415800" cy="225000"/>
            </a:xfrm>
            <a:prstGeom prst="curvedConnector3">
              <a:avLst>
                <a:gd name="adj1" fmla="val 50000"/>
              </a:avLst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24" name="Shape 340"/>
            <p:cNvCxnSpPr>
              <a:cxnSpLocks noChangeShapeType="1"/>
            </p:cNvCxnSpPr>
            <p:nvPr/>
          </p:nvCxnSpPr>
          <p:spPr bwMode="auto">
            <a:xfrm rot="10800000" flipH="1">
              <a:off x="6413614" y="3739624"/>
              <a:ext cx="207899" cy="2763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oval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25" name="Shape 341"/>
            <p:cNvCxnSpPr>
              <a:cxnSpLocks noChangeShapeType="1"/>
            </p:cNvCxnSpPr>
            <p:nvPr/>
          </p:nvCxnSpPr>
          <p:spPr bwMode="auto">
            <a:xfrm>
              <a:off x="6599389" y="3761674"/>
              <a:ext cx="207900" cy="1980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26" name="Shape 342"/>
            <p:cNvCxnSpPr>
              <a:cxnSpLocks noChangeShapeType="1"/>
            </p:cNvCxnSpPr>
            <p:nvPr/>
          </p:nvCxnSpPr>
          <p:spPr bwMode="auto">
            <a:xfrm>
              <a:off x="6293828" y="3651275"/>
              <a:ext cx="0" cy="5703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triangl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27" name="Shape 343"/>
            <p:cNvCxnSpPr>
              <a:cxnSpLocks noChangeShapeType="1"/>
            </p:cNvCxnSpPr>
            <p:nvPr/>
          </p:nvCxnSpPr>
          <p:spPr bwMode="auto">
            <a:xfrm>
              <a:off x="6264074" y="4206907"/>
              <a:ext cx="1141500" cy="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oval" w="lg" len="lg"/>
              <a:tailEnd type="triangl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28" name="Shape 344"/>
            <p:cNvCxnSpPr>
              <a:cxnSpLocks noChangeShapeType="1"/>
            </p:cNvCxnSpPr>
            <p:nvPr/>
          </p:nvCxnSpPr>
          <p:spPr bwMode="auto">
            <a:xfrm rot="10800000">
              <a:off x="6787650" y="3651900"/>
              <a:ext cx="0" cy="55500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prstDash val="dash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20514" name="Shape 345"/>
          <p:cNvCxnSpPr>
            <a:cxnSpLocks noChangeShapeType="1"/>
            <a:stCxn id="20581" idx="3"/>
          </p:cNvCxnSpPr>
          <p:nvPr/>
        </p:nvCxnSpPr>
        <p:spPr bwMode="auto">
          <a:xfrm rot="10800000" flipH="1">
            <a:off x="7973485" y="1873251"/>
            <a:ext cx="1460500" cy="15663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15" name="Shape 346"/>
          <p:cNvCxnSpPr>
            <a:cxnSpLocks noChangeShapeType="1"/>
            <a:stCxn id="20581" idx="3"/>
          </p:cNvCxnSpPr>
          <p:nvPr/>
        </p:nvCxnSpPr>
        <p:spPr bwMode="auto">
          <a:xfrm>
            <a:off x="7973484" y="2029884"/>
            <a:ext cx="1538816" cy="912284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16" name="Shape 347"/>
          <p:cNvCxnSpPr>
            <a:cxnSpLocks noChangeShapeType="1"/>
            <a:stCxn id="20574" idx="3"/>
          </p:cNvCxnSpPr>
          <p:nvPr/>
        </p:nvCxnSpPr>
        <p:spPr bwMode="auto">
          <a:xfrm>
            <a:off x="7973484" y="2967568"/>
            <a:ext cx="1473200" cy="808567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17" name="Shape 348"/>
          <p:cNvCxnSpPr>
            <a:cxnSpLocks noChangeShapeType="1"/>
            <a:stCxn id="20553" idx="3"/>
          </p:cNvCxnSpPr>
          <p:nvPr/>
        </p:nvCxnSpPr>
        <p:spPr bwMode="auto">
          <a:xfrm rot="10800000" flipH="1">
            <a:off x="7973484" y="4819650"/>
            <a:ext cx="1498600" cy="95673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18" name="Shape 349"/>
          <p:cNvCxnSpPr>
            <a:cxnSpLocks noChangeShapeType="1"/>
            <a:stCxn id="20553" idx="3"/>
          </p:cNvCxnSpPr>
          <p:nvPr/>
        </p:nvCxnSpPr>
        <p:spPr bwMode="auto">
          <a:xfrm>
            <a:off x="7973485" y="5776384"/>
            <a:ext cx="1460500" cy="243417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19" name="Shape 350"/>
          <p:cNvCxnSpPr>
            <a:cxnSpLocks noChangeShapeType="1"/>
            <a:stCxn id="20560" idx="3"/>
          </p:cNvCxnSpPr>
          <p:nvPr/>
        </p:nvCxnSpPr>
        <p:spPr bwMode="auto">
          <a:xfrm rot="10800000" flipH="1">
            <a:off x="7973485" y="3945468"/>
            <a:ext cx="1551516" cy="89323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20" name="Shape 351"/>
          <p:cNvCxnSpPr>
            <a:cxnSpLocks noChangeShapeType="1"/>
            <a:stCxn id="20560" idx="3"/>
          </p:cNvCxnSpPr>
          <p:nvPr/>
        </p:nvCxnSpPr>
        <p:spPr bwMode="auto">
          <a:xfrm>
            <a:off x="7973485" y="4838701"/>
            <a:ext cx="1407583" cy="90593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21" name="Shape 352"/>
          <p:cNvCxnSpPr>
            <a:cxnSpLocks noChangeShapeType="1"/>
            <a:stCxn id="20574" idx="3"/>
          </p:cNvCxnSpPr>
          <p:nvPr/>
        </p:nvCxnSpPr>
        <p:spPr bwMode="auto">
          <a:xfrm rot="10800000" flipH="1">
            <a:off x="7973485" y="2120901"/>
            <a:ext cx="1460500" cy="846667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522" name="Shape 353"/>
          <p:cNvSpPr txBox="1">
            <a:spLocks noGrp="1"/>
          </p:cNvSpPr>
          <p:nvPr>
            <p:ph type="subTitle" idx="4294967295"/>
          </p:nvPr>
        </p:nvSpPr>
        <p:spPr>
          <a:xfrm>
            <a:off x="749301" y="6542617"/>
            <a:ext cx="2180167" cy="237566"/>
          </a:xfrm>
        </p:spPr>
        <p:txBody>
          <a:bodyPr/>
          <a:lstStyle/>
          <a:p>
            <a:pPr algn="ctr">
              <a:lnSpc>
                <a:spcPct val="115000"/>
              </a:lnSpc>
              <a:spcAft>
                <a:spcPts val="2133"/>
              </a:spcAft>
              <a:buClr>
                <a:srgbClr val="000000"/>
              </a:buClr>
            </a:pPr>
            <a:r>
              <a:rPr lang="ru-RU" altLang="ru-RU" sz="1467" dirty="0" smtClean="0">
                <a:solidFill>
                  <a:srgbClr val="485C69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Работник предприятия</a:t>
            </a:r>
            <a:endParaRPr lang="ru-RU" altLang="ru-RU" sz="1467" dirty="0">
              <a:solidFill>
                <a:srgbClr val="485C69"/>
              </a:solidFill>
              <a:latin typeface="Open Sans" charset="0"/>
              <a:cs typeface="Arial" panose="020B0604020202020204" pitchFamily="34" charset="0"/>
              <a:sym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1975272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hape 248"/>
          <p:cNvSpPr txBox="1">
            <a:spLocks noGrp="1"/>
          </p:cNvSpPr>
          <p:nvPr>
            <p:ph type="title"/>
          </p:nvPr>
        </p:nvSpPr>
        <p:spPr>
          <a:xfrm>
            <a:off x="211418" y="397935"/>
            <a:ext cx="11328399" cy="984839"/>
          </a:xfrm>
        </p:spPr>
        <p:txBody>
          <a:bodyPr/>
          <a:lstStyle/>
          <a:p>
            <a:pPr eaLnBrk="1" hangingPunct="1">
              <a:spcBef>
                <a:spcPct val="0"/>
              </a:spcBef>
              <a:buClr>
                <a:srgbClr val="000000"/>
              </a:buClr>
            </a:pPr>
            <a:r>
              <a:rPr lang="ru-RU" altLang="ru-RU" dirty="0" smtClean="0">
                <a:solidFill>
                  <a:srgbClr val="FFFFFF"/>
                </a:solidFill>
                <a:latin typeface="Roboto Condensed" charset="0"/>
                <a:cs typeface="Arial" panose="020B0604020202020204" pitchFamily="34" charset="0"/>
                <a:sym typeface="Roboto Condensed" charset="0"/>
              </a:rPr>
              <a:t>Основа </a:t>
            </a:r>
            <a:r>
              <a:rPr lang="ru-RU" altLang="ru-RU" dirty="0">
                <a:solidFill>
                  <a:srgbClr val="FFFFFF"/>
                </a:solidFill>
                <a:latin typeface="Roboto Condensed" charset="0"/>
                <a:cs typeface="Arial" panose="020B0604020202020204" pitchFamily="34" charset="0"/>
                <a:sym typeface="Roboto Condensed" charset="0"/>
              </a:rPr>
              <a:t>превентивной </a:t>
            </a:r>
            <a:r>
              <a:rPr lang="ru-RU" altLang="ru-RU" dirty="0" smtClean="0">
                <a:solidFill>
                  <a:srgbClr val="FFFFFF"/>
                </a:solidFill>
                <a:latin typeface="Roboto Condensed" charset="0"/>
                <a:cs typeface="Arial" panose="020B0604020202020204" pitchFamily="34" charset="0"/>
                <a:sym typeface="Roboto Condensed" charset="0"/>
              </a:rPr>
              <a:t>медицины ближайшего будущего - прогнозирование результатов с использованием искусственного интеллекта</a:t>
            </a:r>
          </a:p>
        </p:txBody>
      </p:sp>
      <p:pic>
        <p:nvPicPr>
          <p:cNvPr id="20483" name="Shape 249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512" r="68092"/>
          <a:stretch>
            <a:fillRect/>
          </a:stretch>
        </p:blipFill>
        <p:spPr bwMode="auto">
          <a:xfrm>
            <a:off x="4110567" y="1697567"/>
            <a:ext cx="527051" cy="1024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4" name="Shape 250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36" r="33342"/>
          <a:stretch>
            <a:fillRect/>
          </a:stretch>
        </p:blipFill>
        <p:spPr bwMode="auto">
          <a:xfrm>
            <a:off x="4110567" y="4008967"/>
            <a:ext cx="527051" cy="1024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5" name="Shape 251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565" r="-3989"/>
          <a:stretch>
            <a:fillRect/>
          </a:stretch>
        </p:blipFill>
        <p:spPr bwMode="auto">
          <a:xfrm>
            <a:off x="4110567" y="5164667"/>
            <a:ext cx="527051" cy="1024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6" name="Shape 252"/>
          <p:cNvPicPr preferRelativeResize="0"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530" r="-22543"/>
          <a:stretch>
            <a:fillRect/>
          </a:stretch>
        </p:blipFill>
        <p:spPr bwMode="auto">
          <a:xfrm>
            <a:off x="4110567" y="2853267"/>
            <a:ext cx="527051" cy="1024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7" name="Shape 253"/>
          <p:cNvPicPr preferRelativeResize="0">
            <a:picLocks noChangeAspect="1" noChangeArrowheads="1"/>
          </p:cNvPicPr>
          <p:nvPr/>
        </p:nvPicPr>
        <p:blipFill>
          <a:blip r:embed="rId5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6268"/>
          <a:stretch>
            <a:fillRect/>
          </a:stretch>
        </p:blipFill>
        <p:spPr bwMode="auto">
          <a:xfrm>
            <a:off x="1005417" y="1697568"/>
            <a:ext cx="1691216" cy="4491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488" name="Shape 254"/>
          <p:cNvCxnSpPr>
            <a:cxnSpLocks noChangeShapeType="1"/>
          </p:cNvCxnSpPr>
          <p:nvPr/>
        </p:nvCxnSpPr>
        <p:spPr bwMode="auto">
          <a:xfrm rot="10800000" flipH="1">
            <a:off x="2696634" y="2209801"/>
            <a:ext cx="1413933" cy="1733549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89" name="Shape 255"/>
          <p:cNvCxnSpPr>
            <a:cxnSpLocks noChangeShapeType="1"/>
          </p:cNvCxnSpPr>
          <p:nvPr/>
        </p:nvCxnSpPr>
        <p:spPr bwMode="auto">
          <a:xfrm rot="10800000" flipH="1">
            <a:off x="2696634" y="3365502"/>
            <a:ext cx="1413933" cy="577849"/>
          </a:xfrm>
          <a:prstGeom prst="curvedConnector3">
            <a:avLst>
              <a:gd name="adj1" fmla="val 50000"/>
            </a:avLst>
          </a:prstGeom>
          <a:ln>
            <a:solidFill>
              <a:srgbClr val="FF0000"/>
            </a:solidFill>
            <a:headEnd type="none" w="lg" len="lg"/>
            <a:tailEnd type="none" w="lg" len="lg"/>
          </a:ln>
          <a:extLst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490" name="Shape 256"/>
          <p:cNvCxnSpPr>
            <a:cxnSpLocks noChangeShapeType="1"/>
          </p:cNvCxnSpPr>
          <p:nvPr/>
        </p:nvCxnSpPr>
        <p:spPr bwMode="auto">
          <a:xfrm>
            <a:off x="2696634" y="3943350"/>
            <a:ext cx="1413933" cy="577851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491" name="Shape 257"/>
          <p:cNvCxnSpPr>
            <a:cxnSpLocks noChangeShapeType="1"/>
          </p:cNvCxnSpPr>
          <p:nvPr/>
        </p:nvCxnSpPr>
        <p:spPr bwMode="auto">
          <a:xfrm>
            <a:off x="2696634" y="3943351"/>
            <a:ext cx="1413933" cy="1733551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492" name="Shape 258"/>
          <p:cNvSpPr txBox="1">
            <a:spLocks noGrp="1"/>
          </p:cNvSpPr>
          <p:nvPr>
            <p:ph type="subTitle" idx="4294967295"/>
          </p:nvPr>
        </p:nvSpPr>
        <p:spPr>
          <a:xfrm>
            <a:off x="3143251" y="6542617"/>
            <a:ext cx="2326216" cy="259623"/>
          </a:xfrm>
        </p:spPr>
        <p:txBody>
          <a:bodyPr/>
          <a:lstStyle/>
          <a:p>
            <a:pPr algn="ctr">
              <a:lnSpc>
                <a:spcPct val="115000"/>
              </a:lnSpc>
              <a:spcAft>
                <a:spcPts val="2133"/>
              </a:spcAft>
              <a:buClr>
                <a:srgbClr val="000000"/>
              </a:buClr>
            </a:pPr>
            <a:r>
              <a:rPr lang="ru-RU" altLang="ru-RU" sz="1467">
                <a:solidFill>
                  <a:srgbClr val="485C69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Модель метаболизма</a:t>
            </a:r>
          </a:p>
        </p:txBody>
      </p:sp>
      <p:sp>
        <p:nvSpPr>
          <p:cNvPr id="20493" name="Shape 259"/>
          <p:cNvSpPr txBox="1">
            <a:spLocks noGrp="1"/>
          </p:cNvSpPr>
          <p:nvPr>
            <p:ph type="subTitle" idx="4294967295"/>
          </p:nvPr>
        </p:nvSpPr>
        <p:spPr>
          <a:xfrm>
            <a:off x="6599767" y="6514042"/>
            <a:ext cx="2180167" cy="303189"/>
          </a:xfrm>
        </p:spPr>
        <p:txBody>
          <a:bodyPr/>
          <a:lstStyle/>
          <a:p>
            <a:pPr algn="ctr">
              <a:lnSpc>
                <a:spcPct val="115000"/>
              </a:lnSpc>
              <a:spcAft>
                <a:spcPts val="2133"/>
              </a:spcAft>
              <a:buClr>
                <a:srgbClr val="595959"/>
              </a:buClr>
            </a:pPr>
            <a:r>
              <a:rPr lang="ru-RU" altLang="ru-RU" sz="1467" dirty="0">
                <a:solidFill>
                  <a:srgbClr val="485C69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Рацион</a:t>
            </a:r>
          </a:p>
          <a:p>
            <a:pPr algn="ctr">
              <a:lnSpc>
                <a:spcPct val="115000"/>
              </a:lnSpc>
              <a:spcAft>
                <a:spcPts val="2133"/>
              </a:spcAft>
              <a:buClr>
                <a:srgbClr val="595959"/>
              </a:buClr>
            </a:pPr>
            <a:endParaRPr lang="ru-RU" altLang="ru-RU" sz="1467" dirty="0">
              <a:solidFill>
                <a:srgbClr val="485C69"/>
              </a:solidFill>
              <a:latin typeface="Open Sans" charset="0"/>
              <a:cs typeface="Arial" panose="020B0604020202020204" pitchFamily="34" charset="0"/>
              <a:sym typeface="Open Sans" charset="0"/>
            </a:endParaRPr>
          </a:p>
        </p:txBody>
      </p:sp>
      <p:sp>
        <p:nvSpPr>
          <p:cNvPr id="20494" name="Shape 260"/>
          <p:cNvSpPr txBox="1">
            <a:spLocks noGrp="1"/>
          </p:cNvSpPr>
          <p:nvPr>
            <p:ph type="subTitle" idx="4294967295"/>
          </p:nvPr>
        </p:nvSpPr>
        <p:spPr>
          <a:xfrm>
            <a:off x="9114367" y="6514043"/>
            <a:ext cx="2180167" cy="277650"/>
          </a:xfrm>
        </p:spPr>
        <p:txBody>
          <a:bodyPr/>
          <a:lstStyle/>
          <a:p>
            <a:pPr algn="ctr">
              <a:lnSpc>
                <a:spcPct val="115000"/>
              </a:lnSpc>
              <a:spcAft>
                <a:spcPts val="2133"/>
              </a:spcAft>
              <a:buClr>
                <a:srgbClr val="595959"/>
              </a:buClr>
            </a:pPr>
            <a:r>
              <a:rPr lang="ru-RU" altLang="ru-RU" sz="1467" dirty="0">
                <a:solidFill>
                  <a:srgbClr val="485C69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Прогноз</a:t>
            </a:r>
          </a:p>
          <a:p>
            <a:pPr algn="ctr">
              <a:lnSpc>
                <a:spcPct val="115000"/>
              </a:lnSpc>
              <a:spcAft>
                <a:spcPts val="2133"/>
              </a:spcAft>
              <a:buClr>
                <a:srgbClr val="595959"/>
              </a:buClr>
            </a:pPr>
            <a:endParaRPr lang="ru-RU" altLang="ru-RU" sz="1467" dirty="0">
              <a:solidFill>
                <a:srgbClr val="485C69"/>
              </a:solidFill>
              <a:latin typeface="Open Sans" charset="0"/>
              <a:cs typeface="Arial" panose="020B0604020202020204" pitchFamily="34" charset="0"/>
              <a:sym typeface="Open Sans" charset="0"/>
            </a:endParaRPr>
          </a:p>
        </p:txBody>
      </p:sp>
      <p:cxnSp>
        <p:nvCxnSpPr>
          <p:cNvPr id="20495" name="Shape 261"/>
          <p:cNvCxnSpPr>
            <a:cxnSpLocks noChangeShapeType="1"/>
          </p:cNvCxnSpPr>
          <p:nvPr/>
        </p:nvCxnSpPr>
        <p:spPr bwMode="auto">
          <a:xfrm>
            <a:off x="1083734" y="6470650"/>
            <a:ext cx="9952567" cy="0"/>
          </a:xfrm>
          <a:prstGeom prst="straightConnector1">
            <a:avLst/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20496" name="Shape 262"/>
          <p:cNvGrpSpPr>
            <a:grpSpLocks/>
          </p:cNvGrpSpPr>
          <p:nvPr/>
        </p:nvGrpSpPr>
        <p:grpSpPr bwMode="auto">
          <a:xfrm>
            <a:off x="7370233" y="1629835"/>
            <a:ext cx="603251" cy="800100"/>
            <a:chOff x="3627800" y="993725"/>
            <a:chExt cx="563700" cy="747900"/>
          </a:xfrm>
        </p:grpSpPr>
        <p:sp>
          <p:nvSpPr>
            <p:cNvPr id="20581" name="Shape 263"/>
            <p:cNvSpPr>
              <a:spLocks noChangeArrowheads="1"/>
            </p:cNvSpPr>
            <p:nvPr/>
          </p:nvSpPr>
          <p:spPr bwMode="auto">
            <a:xfrm>
              <a:off x="3627800" y="993725"/>
              <a:ext cx="563700" cy="747900"/>
            </a:xfrm>
            <a:prstGeom prst="roundRect">
              <a:avLst>
                <a:gd name="adj" fmla="val 16667"/>
              </a:avLst>
            </a:prstGeom>
            <a:solidFill>
              <a:srgbClr val="CADF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21900" tIns="121900" rIns="121900" bIns="121900" anchor="ctr"/>
            <a:lstStyle>
              <a:lvl1pPr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4400" eaLnBrk="1" hangingPunct="1"/>
              <a:endParaRPr lang="ru-RU" altLang="ru-RU" sz="1867"/>
            </a:p>
          </p:txBody>
        </p:sp>
        <p:cxnSp>
          <p:nvCxnSpPr>
            <p:cNvPr id="20582" name="Shape 264"/>
            <p:cNvCxnSpPr>
              <a:cxnSpLocks noChangeShapeType="1"/>
            </p:cNvCxnSpPr>
            <p:nvPr/>
          </p:nvCxnSpPr>
          <p:spPr bwMode="auto">
            <a:xfrm>
              <a:off x="3735400" y="1144075"/>
              <a:ext cx="357000" cy="0"/>
            </a:xfrm>
            <a:prstGeom prst="straightConnector1">
              <a:avLst/>
            </a:prstGeom>
            <a:noFill/>
            <a:ln w="19050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83" name="Shape 265"/>
            <p:cNvCxnSpPr>
              <a:cxnSpLocks noChangeShapeType="1"/>
            </p:cNvCxnSpPr>
            <p:nvPr/>
          </p:nvCxnSpPr>
          <p:spPr bwMode="auto">
            <a:xfrm>
              <a:off x="3735400" y="1222719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84" name="Shape 266"/>
            <p:cNvCxnSpPr>
              <a:cxnSpLocks noChangeShapeType="1"/>
            </p:cNvCxnSpPr>
            <p:nvPr/>
          </p:nvCxnSpPr>
          <p:spPr bwMode="auto">
            <a:xfrm>
              <a:off x="3735400" y="1301364"/>
              <a:ext cx="1908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85" name="Shape 267"/>
            <p:cNvCxnSpPr>
              <a:cxnSpLocks noChangeShapeType="1"/>
            </p:cNvCxnSpPr>
            <p:nvPr/>
          </p:nvCxnSpPr>
          <p:spPr bwMode="auto">
            <a:xfrm>
              <a:off x="3735400" y="1414650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86" name="Shape 268"/>
            <p:cNvCxnSpPr>
              <a:cxnSpLocks noChangeShapeType="1"/>
            </p:cNvCxnSpPr>
            <p:nvPr/>
          </p:nvCxnSpPr>
          <p:spPr bwMode="auto">
            <a:xfrm>
              <a:off x="3735400" y="1493294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87" name="Shape 269"/>
            <p:cNvCxnSpPr>
              <a:cxnSpLocks noChangeShapeType="1"/>
            </p:cNvCxnSpPr>
            <p:nvPr/>
          </p:nvCxnSpPr>
          <p:spPr bwMode="auto">
            <a:xfrm>
              <a:off x="3735400" y="1571939"/>
              <a:ext cx="1908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0497" name="Shape 270"/>
          <p:cNvGrpSpPr>
            <a:grpSpLocks/>
          </p:cNvGrpSpPr>
          <p:nvPr/>
        </p:nvGrpSpPr>
        <p:grpSpPr bwMode="auto">
          <a:xfrm>
            <a:off x="7370233" y="2567517"/>
            <a:ext cx="603251" cy="797984"/>
            <a:chOff x="3656903" y="1840500"/>
            <a:chExt cx="563700" cy="747900"/>
          </a:xfrm>
        </p:grpSpPr>
        <p:sp>
          <p:nvSpPr>
            <p:cNvPr id="20574" name="Shape 271"/>
            <p:cNvSpPr>
              <a:spLocks noChangeArrowheads="1"/>
            </p:cNvSpPr>
            <p:nvPr/>
          </p:nvSpPr>
          <p:spPr bwMode="auto">
            <a:xfrm>
              <a:off x="3656903" y="1840500"/>
              <a:ext cx="563700" cy="747900"/>
            </a:xfrm>
            <a:prstGeom prst="roundRect">
              <a:avLst>
                <a:gd name="adj" fmla="val 16667"/>
              </a:avLst>
            </a:prstGeom>
            <a:solidFill>
              <a:srgbClr val="CADF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21900" tIns="121900" rIns="121900" bIns="121900" anchor="ctr"/>
            <a:lstStyle>
              <a:lvl1pPr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4400" eaLnBrk="1" hangingPunct="1"/>
              <a:endParaRPr lang="ru-RU" altLang="ru-RU" sz="1867"/>
            </a:p>
          </p:txBody>
        </p:sp>
        <p:cxnSp>
          <p:nvCxnSpPr>
            <p:cNvPr id="20575" name="Shape 272"/>
            <p:cNvCxnSpPr>
              <a:cxnSpLocks noChangeShapeType="1"/>
            </p:cNvCxnSpPr>
            <p:nvPr/>
          </p:nvCxnSpPr>
          <p:spPr bwMode="auto">
            <a:xfrm>
              <a:off x="3764503" y="1990850"/>
              <a:ext cx="186000" cy="0"/>
            </a:xfrm>
            <a:prstGeom prst="straightConnector1">
              <a:avLst/>
            </a:prstGeom>
            <a:noFill/>
            <a:ln w="19050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76" name="Shape 273"/>
            <p:cNvCxnSpPr>
              <a:cxnSpLocks noChangeShapeType="1"/>
            </p:cNvCxnSpPr>
            <p:nvPr/>
          </p:nvCxnSpPr>
          <p:spPr bwMode="auto">
            <a:xfrm>
              <a:off x="3764503" y="2069494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77" name="Shape 274"/>
            <p:cNvCxnSpPr>
              <a:cxnSpLocks noChangeShapeType="1"/>
            </p:cNvCxnSpPr>
            <p:nvPr/>
          </p:nvCxnSpPr>
          <p:spPr bwMode="auto">
            <a:xfrm>
              <a:off x="3764503" y="2148139"/>
              <a:ext cx="2739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78" name="Shape 275"/>
            <p:cNvCxnSpPr>
              <a:cxnSpLocks noChangeShapeType="1"/>
            </p:cNvCxnSpPr>
            <p:nvPr/>
          </p:nvCxnSpPr>
          <p:spPr bwMode="auto">
            <a:xfrm>
              <a:off x="3764503" y="2261425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79" name="Shape 276"/>
            <p:cNvCxnSpPr>
              <a:cxnSpLocks noChangeShapeType="1"/>
            </p:cNvCxnSpPr>
            <p:nvPr/>
          </p:nvCxnSpPr>
          <p:spPr bwMode="auto">
            <a:xfrm>
              <a:off x="3764503" y="2340069"/>
              <a:ext cx="2739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80" name="Shape 277"/>
            <p:cNvCxnSpPr>
              <a:cxnSpLocks noChangeShapeType="1"/>
            </p:cNvCxnSpPr>
            <p:nvPr/>
          </p:nvCxnSpPr>
          <p:spPr bwMode="auto">
            <a:xfrm>
              <a:off x="3764503" y="2418714"/>
              <a:ext cx="1908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0498" name="Shape 278"/>
          <p:cNvGrpSpPr>
            <a:grpSpLocks/>
          </p:cNvGrpSpPr>
          <p:nvPr/>
        </p:nvGrpSpPr>
        <p:grpSpPr bwMode="auto">
          <a:xfrm>
            <a:off x="7370233" y="3503084"/>
            <a:ext cx="603251" cy="800100"/>
            <a:chOff x="3627800" y="993725"/>
            <a:chExt cx="563700" cy="747900"/>
          </a:xfrm>
        </p:grpSpPr>
        <p:sp>
          <p:nvSpPr>
            <p:cNvPr id="20567" name="Shape 279"/>
            <p:cNvSpPr>
              <a:spLocks noChangeArrowheads="1"/>
            </p:cNvSpPr>
            <p:nvPr/>
          </p:nvSpPr>
          <p:spPr bwMode="auto">
            <a:xfrm>
              <a:off x="3627800" y="993725"/>
              <a:ext cx="563700" cy="747900"/>
            </a:xfrm>
            <a:prstGeom prst="roundRect">
              <a:avLst>
                <a:gd name="adj" fmla="val 16667"/>
              </a:avLst>
            </a:prstGeom>
            <a:solidFill>
              <a:srgbClr val="CADF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21900" tIns="121900" rIns="121900" bIns="121900" anchor="ctr"/>
            <a:lstStyle>
              <a:lvl1pPr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4400" eaLnBrk="1" hangingPunct="1"/>
              <a:endParaRPr lang="ru-RU" altLang="ru-RU" sz="1867"/>
            </a:p>
          </p:txBody>
        </p:sp>
        <p:cxnSp>
          <p:nvCxnSpPr>
            <p:cNvPr id="20568" name="Shape 280"/>
            <p:cNvCxnSpPr>
              <a:cxnSpLocks noChangeShapeType="1"/>
            </p:cNvCxnSpPr>
            <p:nvPr/>
          </p:nvCxnSpPr>
          <p:spPr bwMode="auto">
            <a:xfrm>
              <a:off x="3735400" y="1144075"/>
              <a:ext cx="357000" cy="0"/>
            </a:xfrm>
            <a:prstGeom prst="straightConnector1">
              <a:avLst/>
            </a:prstGeom>
            <a:noFill/>
            <a:ln w="19050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69" name="Shape 281"/>
            <p:cNvCxnSpPr>
              <a:cxnSpLocks noChangeShapeType="1"/>
            </p:cNvCxnSpPr>
            <p:nvPr/>
          </p:nvCxnSpPr>
          <p:spPr bwMode="auto">
            <a:xfrm>
              <a:off x="3735400" y="1222719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70" name="Shape 282"/>
            <p:cNvCxnSpPr>
              <a:cxnSpLocks noChangeShapeType="1"/>
            </p:cNvCxnSpPr>
            <p:nvPr/>
          </p:nvCxnSpPr>
          <p:spPr bwMode="auto">
            <a:xfrm>
              <a:off x="3735400" y="1301364"/>
              <a:ext cx="1908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71" name="Shape 283"/>
            <p:cNvCxnSpPr>
              <a:cxnSpLocks noChangeShapeType="1"/>
            </p:cNvCxnSpPr>
            <p:nvPr/>
          </p:nvCxnSpPr>
          <p:spPr bwMode="auto">
            <a:xfrm>
              <a:off x="3735400" y="1414650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72" name="Shape 284"/>
            <p:cNvCxnSpPr>
              <a:cxnSpLocks noChangeShapeType="1"/>
            </p:cNvCxnSpPr>
            <p:nvPr/>
          </p:nvCxnSpPr>
          <p:spPr bwMode="auto">
            <a:xfrm>
              <a:off x="3735400" y="1493294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73" name="Shape 285"/>
            <p:cNvCxnSpPr>
              <a:cxnSpLocks noChangeShapeType="1"/>
            </p:cNvCxnSpPr>
            <p:nvPr/>
          </p:nvCxnSpPr>
          <p:spPr bwMode="auto">
            <a:xfrm>
              <a:off x="3735400" y="1571939"/>
              <a:ext cx="1908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0499" name="Shape 286"/>
          <p:cNvGrpSpPr>
            <a:grpSpLocks/>
          </p:cNvGrpSpPr>
          <p:nvPr/>
        </p:nvGrpSpPr>
        <p:grpSpPr bwMode="auto">
          <a:xfrm>
            <a:off x="7370233" y="4440768"/>
            <a:ext cx="603251" cy="797983"/>
            <a:chOff x="3627800" y="993725"/>
            <a:chExt cx="563700" cy="747900"/>
          </a:xfrm>
        </p:grpSpPr>
        <p:sp>
          <p:nvSpPr>
            <p:cNvPr id="20560" name="Shape 287"/>
            <p:cNvSpPr>
              <a:spLocks noChangeArrowheads="1"/>
            </p:cNvSpPr>
            <p:nvPr/>
          </p:nvSpPr>
          <p:spPr bwMode="auto">
            <a:xfrm>
              <a:off x="3627800" y="993725"/>
              <a:ext cx="563700" cy="747900"/>
            </a:xfrm>
            <a:prstGeom prst="roundRect">
              <a:avLst>
                <a:gd name="adj" fmla="val 16667"/>
              </a:avLst>
            </a:prstGeom>
            <a:ln>
              <a:solidFill>
                <a:srgbClr val="FF0000"/>
              </a:solidFill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121900" tIns="121900" rIns="121900" bIns="121900" anchor="ctr"/>
            <a:lstStyle>
              <a:lvl1pPr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4400" eaLnBrk="1" hangingPunct="1"/>
              <a:endParaRPr lang="ru-RU" altLang="ru-RU" sz="1867"/>
            </a:p>
          </p:txBody>
        </p:sp>
        <p:cxnSp>
          <p:nvCxnSpPr>
            <p:cNvPr id="20561" name="Shape 288"/>
            <p:cNvCxnSpPr>
              <a:cxnSpLocks noChangeShapeType="1"/>
            </p:cNvCxnSpPr>
            <p:nvPr/>
          </p:nvCxnSpPr>
          <p:spPr bwMode="auto">
            <a:xfrm>
              <a:off x="3735400" y="1144075"/>
              <a:ext cx="357000" cy="0"/>
            </a:xfrm>
            <a:prstGeom prst="straightConnector1">
              <a:avLst/>
            </a:prstGeom>
            <a:ln>
              <a:solidFill>
                <a:srgbClr val="FF0000"/>
              </a:solidFill>
              <a:headEnd type="none" w="lg" len="lg"/>
              <a:tailEnd type="none" w="lg" len="lg"/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cxnSp>
        <p:cxnSp>
          <p:nvCxnSpPr>
            <p:cNvPr id="20562" name="Shape 289"/>
            <p:cNvCxnSpPr>
              <a:cxnSpLocks noChangeShapeType="1"/>
            </p:cNvCxnSpPr>
            <p:nvPr/>
          </p:nvCxnSpPr>
          <p:spPr bwMode="auto">
            <a:xfrm>
              <a:off x="3735400" y="1222719"/>
              <a:ext cx="357000" cy="0"/>
            </a:xfrm>
            <a:prstGeom prst="straightConnector1">
              <a:avLst/>
            </a:prstGeom>
            <a:ln>
              <a:solidFill>
                <a:srgbClr val="FF0000"/>
              </a:solidFill>
              <a:headEnd type="none" w="lg" len="lg"/>
              <a:tailEnd type="none" w="lg" len="lg"/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cxnSp>
        <p:cxnSp>
          <p:nvCxnSpPr>
            <p:cNvPr id="20563" name="Shape 290"/>
            <p:cNvCxnSpPr>
              <a:cxnSpLocks noChangeShapeType="1"/>
            </p:cNvCxnSpPr>
            <p:nvPr/>
          </p:nvCxnSpPr>
          <p:spPr bwMode="auto">
            <a:xfrm>
              <a:off x="3735400" y="1301364"/>
              <a:ext cx="190800" cy="0"/>
            </a:xfrm>
            <a:prstGeom prst="straightConnector1">
              <a:avLst/>
            </a:prstGeom>
            <a:ln>
              <a:solidFill>
                <a:srgbClr val="FF0000"/>
              </a:solidFill>
              <a:headEnd type="none" w="lg" len="lg"/>
              <a:tailEnd type="none" w="lg" len="lg"/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cxnSp>
        <p:cxnSp>
          <p:nvCxnSpPr>
            <p:cNvPr id="20564" name="Shape 291"/>
            <p:cNvCxnSpPr>
              <a:cxnSpLocks noChangeShapeType="1"/>
            </p:cNvCxnSpPr>
            <p:nvPr/>
          </p:nvCxnSpPr>
          <p:spPr bwMode="auto">
            <a:xfrm>
              <a:off x="3735400" y="1414650"/>
              <a:ext cx="357000" cy="0"/>
            </a:xfrm>
            <a:prstGeom prst="straightConnector1">
              <a:avLst/>
            </a:prstGeom>
            <a:ln>
              <a:solidFill>
                <a:srgbClr val="FF0000"/>
              </a:solidFill>
              <a:headEnd type="none" w="lg" len="lg"/>
              <a:tailEnd type="none" w="lg" len="lg"/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cxnSp>
        <p:cxnSp>
          <p:nvCxnSpPr>
            <p:cNvPr id="20565" name="Shape 292"/>
            <p:cNvCxnSpPr>
              <a:cxnSpLocks noChangeShapeType="1"/>
            </p:cNvCxnSpPr>
            <p:nvPr/>
          </p:nvCxnSpPr>
          <p:spPr bwMode="auto">
            <a:xfrm>
              <a:off x="3735400" y="1493294"/>
              <a:ext cx="357000" cy="0"/>
            </a:xfrm>
            <a:prstGeom prst="straightConnector1">
              <a:avLst/>
            </a:prstGeom>
            <a:ln>
              <a:solidFill>
                <a:srgbClr val="FF0000"/>
              </a:solidFill>
              <a:headEnd type="none" w="lg" len="lg"/>
              <a:tailEnd type="none" w="lg" len="lg"/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cxnSp>
        <p:cxnSp>
          <p:nvCxnSpPr>
            <p:cNvPr id="20566" name="Shape 293"/>
            <p:cNvCxnSpPr>
              <a:cxnSpLocks noChangeShapeType="1"/>
            </p:cNvCxnSpPr>
            <p:nvPr/>
          </p:nvCxnSpPr>
          <p:spPr bwMode="auto">
            <a:xfrm>
              <a:off x="3735400" y="1571939"/>
              <a:ext cx="190800" cy="0"/>
            </a:xfrm>
            <a:prstGeom prst="straightConnector1">
              <a:avLst/>
            </a:prstGeom>
            <a:ln>
              <a:solidFill>
                <a:srgbClr val="FF0000"/>
              </a:solidFill>
              <a:headEnd type="none" w="lg" len="lg"/>
              <a:tailEnd type="none" w="lg" len="lg"/>
            </a:ln>
            <a:extLst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cxnSp>
      </p:grpSp>
      <p:grpSp>
        <p:nvGrpSpPr>
          <p:cNvPr id="20500" name="Shape 294"/>
          <p:cNvGrpSpPr>
            <a:grpSpLocks/>
          </p:cNvGrpSpPr>
          <p:nvPr/>
        </p:nvGrpSpPr>
        <p:grpSpPr bwMode="auto">
          <a:xfrm>
            <a:off x="7370233" y="5376335"/>
            <a:ext cx="603251" cy="800100"/>
            <a:chOff x="3627800" y="993725"/>
            <a:chExt cx="563700" cy="747900"/>
          </a:xfrm>
        </p:grpSpPr>
        <p:sp>
          <p:nvSpPr>
            <p:cNvPr id="20553" name="Shape 295"/>
            <p:cNvSpPr>
              <a:spLocks noChangeArrowheads="1"/>
            </p:cNvSpPr>
            <p:nvPr/>
          </p:nvSpPr>
          <p:spPr bwMode="auto">
            <a:xfrm>
              <a:off x="3627800" y="993725"/>
              <a:ext cx="563700" cy="747900"/>
            </a:xfrm>
            <a:prstGeom prst="roundRect">
              <a:avLst>
                <a:gd name="adj" fmla="val 16667"/>
              </a:avLst>
            </a:prstGeom>
            <a:solidFill>
              <a:srgbClr val="CADF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21900" tIns="121900" rIns="121900" bIns="121900" anchor="ctr"/>
            <a:lstStyle>
              <a:lvl1pPr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1pPr>
              <a:lvl2pPr marL="742950" indent="-28575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2pPr>
              <a:lvl3pPr marL="11430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3pPr>
              <a:lvl4pPr marL="16002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4pPr>
              <a:lvl5pPr marL="2057400" indent="-228600" eaLnBrk="0" hangingPunct="0"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defRPr>
              </a:lvl9pPr>
            </a:lstStyle>
            <a:p>
              <a:pPr defTabSz="914400" eaLnBrk="1" hangingPunct="1"/>
              <a:endParaRPr lang="ru-RU" altLang="ru-RU" sz="1867"/>
            </a:p>
          </p:txBody>
        </p:sp>
        <p:cxnSp>
          <p:nvCxnSpPr>
            <p:cNvPr id="20554" name="Shape 296"/>
            <p:cNvCxnSpPr>
              <a:cxnSpLocks noChangeShapeType="1"/>
            </p:cNvCxnSpPr>
            <p:nvPr/>
          </p:nvCxnSpPr>
          <p:spPr bwMode="auto">
            <a:xfrm>
              <a:off x="3735400" y="1144075"/>
              <a:ext cx="357000" cy="0"/>
            </a:xfrm>
            <a:prstGeom prst="straightConnector1">
              <a:avLst/>
            </a:prstGeom>
            <a:noFill/>
            <a:ln w="19050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55" name="Shape 297"/>
            <p:cNvCxnSpPr>
              <a:cxnSpLocks noChangeShapeType="1"/>
            </p:cNvCxnSpPr>
            <p:nvPr/>
          </p:nvCxnSpPr>
          <p:spPr bwMode="auto">
            <a:xfrm>
              <a:off x="3735400" y="1222719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56" name="Shape 298"/>
            <p:cNvCxnSpPr>
              <a:cxnSpLocks noChangeShapeType="1"/>
            </p:cNvCxnSpPr>
            <p:nvPr/>
          </p:nvCxnSpPr>
          <p:spPr bwMode="auto">
            <a:xfrm>
              <a:off x="3735400" y="1301364"/>
              <a:ext cx="1908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57" name="Shape 299"/>
            <p:cNvCxnSpPr>
              <a:cxnSpLocks noChangeShapeType="1"/>
            </p:cNvCxnSpPr>
            <p:nvPr/>
          </p:nvCxnSpPr>
          <p:spPr bwMode="auto">
            <a:xfrm>
              <a:off x="3735400" y="1414650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58" name="Shape 300"/>
            <p:cNvCxnSpPr>
              <a:cxnSpLocks noChangeShapeType="1"/>
            </p:cNvCxnSpPr>
            <p:nvPr/>
          </p:nvCxnSpPr>
          <p:spPr bwMode="auto">
            <a:xfrm>
              <a:off x="3735400" y="1493294"/>
              <a:ext cx="3570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59" name="Shape 301"/>
            <p:cNvCxnSpPr>
              <a:cxnSpLocks noChangeShapeType="1"/>
            </p:cNvCxnSpPr>
            <p:nvPr/>
          </p:nvCxnSpPr>
          <p:spPr bwMode="auto">
            <a:xfrm>
              <a:off x="3735400" y="1571939"/>
              <a:ext cx="1908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20501" name="Shape 302"/>
          <p:cNvCxnSpPr>
            <a:cxnSpLocks noChangeShapeType="1"/>
            <a:endCxn id="20581" idx="1"/>
          </p:cNvCxnSpPr>
          <p:nvPr/>
        </p:nvCxnSpPr>
        <p:spPr bwMode="auto">
          <a:xfrm rot="10800000" flipH="1">
            <a:off x="4637617" y="2029884"/>
            <a:ext cx="2732616" cy="179917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02" name="Shape 303"/>
          <p:cNvCxnSpPr>
            <a:cxnSpLocks noChangeShapeType="1"/>
            <a:stCxn id="20560" idx="1"/>
          </p:cNvCxnSpPr>
          <p:nvPr/>
        </p:nvCxnSpPr>
        <p:spPr bwMode="auto">
          <a:xfrm rot="10800000">
            <a:off x="4637617" y="2209801"/>
            <a:ext cx="2732616" cy="2628900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03" name="Shape 304"/>
          <p:cNvCxnSpPr>
            <a:cxnSpLocks noChangeShapeType="1"/>
            <a:endCxn id="20574" idx="1"/>
          </p:cNvCxnSpPr>
          <p:nvPr/>
        </p:nvCxnSpPr>
        <p:spPr bwMode="auto">
          <a:xfrm rot="10800000" flipH="1">
            <a:off x="4637617" y="2967568"/>
            <a:ext cx="2732616" cy="39793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04" name="Shape 305"/>
          <p:cNvCxnSpPr>
            <a:cxnSpLocks noChangeShapeType="1"/>
            <a:stCxn id="20560" idx="1"/>
          </p:cNvCxnSpPr>
          <p:nvPr/>
        </p:nvCxnSpPr>
        <p:spPr bwMode="auto">
          <a:xfrm rot="10800000">
            <a:off x="4637617" y="3365501"/>
            <a:ext cx="2732616" cy="1473200"/>
          </a:xfrm>
          <a:prstGeom prst="curvedConnector3">
            <a:avLst>
              <a:gd name="adj1" fmla="val 50000"/>
            </a:avLst>
          </a:prstGeom>
          <a:ln>
            <a:solidFill>
              <a:srgbClr val="FF0000"/>
            </a:solidFill>
            <a:headEnd type="none" w="lg" len="lg"/>
            <a:tailEnd type="none" w="lg" len="lg"/>
          </a:ln>
          <a:extLst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505" name="Shape 306"/>
          <p:cNvCxnSpPr>
            <a:cxnSpLocks noChangeShapeType="1"/>
            <a:endCxn id="20567" idx="1"/>
          </p:cNvCxnSpPr>
          <p:nvPr/>
        </p:nvCxnSpPr>
        <p:spPr bwMode="auto">
          <a:xfrm rot="10800000" flipH="1">
            <a:off x="4637617" y="3903134"/>
            <a:ext cx="2732616" cy="618067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06" name="Shape 307"/>
          <p:cNvCxnSpPr>
            <a:cxnSpLocks noChangeShapeType="1"/>
            <a:stCxn id="20553" idx="1"/>
          </p:cNvCxnSpPr>
          <p:nvPr/>
        </p:nvCxnSpPr>
        <p:spPr bwMode="auto">
          <a:xfrm rot="10800000">
            <a:off x="4637617" y="4521201"/>
            <a:ext cx="2732616" cy="125518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07" name="Shape 308"/>
          <p:cNvCxnSpPr>
            <a:cxnSpLocks noChangeShapeType="1"/>
            <a:endCxn id="20581" idx="1"/>
          </p:cNvCxnSpPr>
          <p:nvPr/>
        </p:nvCxnSpPr>
        <p:spPr bwMode="auto">
          <a:xfrm rot="10800000" flipH="1">
            <a:off x="4637617" y="2029884"/>
            <a:ext cx="2732616" cy="3647017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08" name="Shape 309"/>
          <p:cNvCxnSpPr>
            <a:cxnSpLocks noChangeShapeType="1"/>
            <a:endCxn id="20553" idx="1"/>
          </p:cNvCxnSpPr>
          <p:nvPr/>
        </p:nvCxnSpPr>
        <p:spPr bwMode="auto">
          <a:xfrm>
            <a:off x="4637617" y="5676901"/>
            <a:ext cx="2732616" cy="9948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20509" name="Shape 310"/>
          <p:cNvGrpSpPr>
            <a:grpSpLocks/>
          </p:cNvGrpSpPr>
          <p:nvPr/>
        </p:nvGrpSpPr>
        <p:grpSpPr bwMode="auto">
          <a:xfrm>
            <a:off x="9565218" y="1638301"/>
            <a:ext cx="1454149" cy="726016"/>
            <a:chOff x="6258770" y="928375"/>
            <a:chExt cx="1141499" cy="570300"/>
          </a:xfrm>
        </p:grpSpPr>
        <p:cxnSp>
          <p:nvCxnSpPr>
            <p:cNvPr id="20547" name="Shape 311"/>
            <p:cNvCxnSpPr>
              <a:cxnSpLocks noChangeShapeType="1"/>
            </p:cNvCxnSpPr>
            <p:nvPr/>
          </p:nvCxnSpPr>
          <p:spPr bwMode="auto">
            <a:xfrm rot="10800000" flipH="1">
              <a:off x="6413200" y="1097814"/>
              <a:ext cx="207900" cy="2763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oval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48" name="Shape 312"/>
            <p:cNvCxnSpPr>
              <a:cxnSpLocks noChangeShapeType="1"/>
            </p:cNvCxnSpPr>
            <p:nvPr/>
          </p:nvCxnSpPr>
          <p:spPr bwMode="auto">
            <a:xfrm rot="10800000" flipH="1">
              <a:off x="6792125" y="1075989"/>
              <a:ext cx="386400" cy="21990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49" name="Shape 313"/>
            <p:cNvCxnSpPr>
              <a:cxnSpLocks noChangeShapeType="1"/>
            </p:cNvCxnSpPr>
            <p:nvPr/>
          </p:nvCxnSpPr>
          <p:spPr bwMode="auto">
            <a:xfrm>
              <a:off x="6598975" y="1119864"/>
              <a:ext cx="207900" cy="1980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50" name="Shape 314"/>
            <p:cNvCxnSpPr>
              <a:cxnSpLocks noChangeShapeType="1"/>
            </p:cNvCxnSpPr>
            <p:nvPr/>
          </p:nvCxnSpPr>
          <p:spPr bwMode="auto">
            <a:xfrm>
              <a:off x="6288525" y="928375"/>
              <a:ext cx="0" cy="5703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triangl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51" name="Shape 315"/>
            <p:cNvCxnSpPr>
              <a:cxnSpLocks noChangeShapeType="1"/>
            </p:cNvCxnSpPr>
            <p:nvPr/>
          </p:nvCxnSpPr>
          <p:spPr bwMode="auto">
            <a:xfrm>
              <a:off x="6258770" y="1484007"/>
              <a:ext cx="1141499" cy="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oval" w="lg" len="lg"/>
              <a:tailEnd type="triangl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52" name="Shape 316"/>
            <p:cNvCxnSpPr>
              <a:cxnSpLocks noChangeShapeType="1"/>
            </p:cNvCxnSpPr>
            <p:nvPr/>
          </p:nvCxnSpPr>
          <p:spPr bwMode="auto">
            <a:xfrm rot="10800000">
              <a:off x="6782346" y="929000"/>
              <a:ext cx="0" cy="55500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prstDash val="dash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0510" name="Shape 317"/>
          <p:cNvGrpSpPr>
            <a:grpSpLocks/>
          </p:cNvGrpSpPr>
          <p:nvPr/>
        </p:nvGrpSpPr>
        <p:grpSpPr bwMode="auto">
          <a:xfrm>
            <a:off x="9565218" y="2586567"/>
            <a:ext cx="1454149" cy="726016"/>
            <a:chOff x="6258770" y="1614175"/>
            <a:chExt cx="1141499" cy="570300"/>
          </a:xfrm>
        </p:grpSpPr>
        <p:cxnSp>
          <p:nvCxnSpPr>
            <p:cNvPr id="20541" name="Shape 318"/>
            <p:cNvCxnSpPr>
              <a:cxnSpLocks noChangeShapeType="1"/>
            </p:cNvCxnSpPr>
            <p:nvPr/>
          </p:nvCxnSpPr>
          <p:spPr bwMode="auto">
            <a:xfrm rot="10800000" flipH="1">
              <a:off x="6413200" y="1783614"/>
              <a:ext cx="207900" cy="2763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oval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42" name="Shape 319"/>
            <p:cNvCxnSpPr>
              <a:cxnSpLocks noChangeShapeType="1"/>
            </p:cNvCxnSpPr>
            <p:nvPr/>
          </p:nvCxnSpPr>
          <p:spPr bwMode="auto">
            <a:xfrm>
              <a:off x="6792125" y="1981689"/>
              <a:ext cx="434100" cy="10110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43" name="Shape 320"/>
            <p:cNvCxnSpPr>
              <a:cxnSpLocks noChangeShapeType="1"/>
            </p:cNvCxnSpPr>
            <p:nvPr/>
          </p:nvCxnSpPr>
          <p:spPr bwMode="auto">
            <a:xfrm>
              <a:off x="6598975" y="1805664"/>
              <a:ext cx="207900" cy="1980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44" name="Shape 321"/>
            <p:cNvCxnSpPr>
              <a:cxnSpLocks noChangeShapeType="1"/>
            </p:cNvCxnSpPr>
            <p:nvPr/>
          </p:nvCxnSpPr>
          <p:spPr bwMode="auto">
            <a:xfrm>
              <a:off x="6288525" y="1614175"/>
              <a:ext cx="0" cy="5703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triangl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45" name="Shape 322"/>
            <p:cNvCxnSpPr>
              <a:cxnSpLocks noChangeShapeType="1"/>
            </p:cNvCxnSpPr>
            <p:nvPr/>
          </p:nvCxnSpPr>
          <p:spPr bwMode="auto">
            <a:xfrm>
              <a:off x="6258770" y="2169807"/>
              <a:ext cx="1141499" cy="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oval" w="lg" len="lg"/>
              <a:tailEnd type="triangl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46" name="Shape 323"/>
            <p:cNvCxnSpPr>
              <a:cxnSpLocks noChangeShapeType="1"/>
            </p:cNvCxnSpPr>
            <p:nvPr/>
          </p:nvCxnSpPr>
          <p:spPr bwMode="auto">
            <a:xfrm rot="10800000">
              <a:off x="6782346" y="1614800"/>
              <a:ext cx="0" cy="55500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prstDash val="dash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0511" name="Shape 324"/>
          <p:cNvGrpSpPr>
            <a:grpSpLocks/>
          </p:cNvGrpSpPr>
          <p:nvPr/>
        </p:nvGrpSpPr>
        <p:grpSpPr bwMode="auto">
          <a:xfrm>
            <a:off x="9565218" y="3534834"/>
            <a:ext cx="1454149" cy="726016"/>
            <a:chOff x="6258770" y="2299975"/>
            <a:chExt cx="1141499" cy="570300"/>
          </a:xfrm>
        </p:grpSpPr>
        <p:cxnSp>
          <p:nvCxnSpPr>
            <p:cNvPr id="20535" name="Shape 325"/>
            <p:cNvCxnSpPr>
              <a:cxnSpLocks noChangeShapeType="1"/>
            </p:cNvCxnSpPr>
            <p:nvPr/>
          </p:nvCxnSpPr>
          <p:spPr bwMode="auto">
            <a:xfrm rot="10800000" flipH="1">
              <a:off x="6413200" y="2469414"/>
              <a:ext cx="207900" cy="2763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oval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36" name="Shape 326"/>
            <p:cNvCxnSpPr>
              <a:cxnSpLocks noChangeShapeType="1"/>
            </p:cNvCxnSpPr>
            <p:nvPr/>
          </p:nvCxnSpPr>
          <p:spPr bwMode="auto">
            <a:xfrm>
              <a:off x="6792125" y="2667489"/>
              <a:ext cx="434100" cy="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37" name="Shape 327"/>
            <p:cNvCxnSpPr>
              <a:cxnSpLocks noChangeShapeType="1"/>
            </p:cNvCxnSpPr>
            <p:nvPr/>
          </p:nvCxnSpPr>
          <p:spPr bwMode="auto">
            <a:xfrm>
              <a:off x="6598975" y="2491464"/>
              <a:ext cx="207900" cy="1980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38" name="Shape 328"/>
            <p:cNvCxnSpPr>
              <a:cxnSpLocks noChangeShapeType="1"/>
            </p:cNvCxnSpPr>
            <p:nvPr/>
          </p:nvCxnSpPr>
          <p:spPr bwMode="auto">
            <a:xfrm>
              <a:off x="6288525" y="2299975"/>
              <a:ext cx="0" cy="5703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triangl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39" name="Shape 329"/>
            <p:cNvCxnSpPr>
              <a:cxnSpLocks noChangeShapeType="1"/>
            </p:cNvCxnSpPr>
            <p:nvPr/>
          </p:nvCxnSpPr>
          <p:spPr bwMode="auto">
            <a:xfrm>
              <a:off x="6258770" y="2855607"/>
              <a:ext cx="1141499" cy="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oval" w="lg" len="lg"/>
              <a:tailEnd type="triangl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40" name="Shape 330"/>
            <p:cNvCxnSpPr>
              <a:cxnSpLocks noChangeShapeType="1"/>
            </p:cNvCxnSpPr>
            <p:nvPr/>
          </p:nvCxnSpPr>
          <p:spPr bwMode="auto">
            <a:xfrm rot="10800000">
              <a:off x="6782346" y="2300600"/>
              <a:ext cx="0" cy="55500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prstDash val="dash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0512" name="Shape 331"/>
          <p:cNvGrpSpPr>
            <a:grpSpLocks/>
          </p:cNvGrpSpPr>
          <p:nvPr/>
        </p:nvGrpSpPr>
        <p:grpSpPr bwMode="auto">
          <a:xfrm>
            <a:off x="9565218" y="4483101"/>
            <a:ext cx="1454149" cy="726016"/>
            <a:chOff x="6258770" y="2985775"/>
            <a:chExt cx="1141499" cy="570300"/>
          </a:xfrm>
        </p:grpSpPr>
        <p:cxnSp>
          <p:nvCxnSpPr>
            <p:cNvPr id="20529" name="Shape 332"/>
            <p:cNvCxnSpPr>
              <a:cxnSpLocks noChangeShapeType="1"/>
            </p:cNvCxnSpPr>
            <p:nvPr/>
          </p:nvCxnSpPr>
          <p:spPr bwMode="auto">
            <a:xfrm rot="10800000" flipH="1">
              <a:off x="6775775" y="3128362"/>
              <a:ext cx="466800" cy="229800"/>
            </a:xfrm>
            <a:prstGeom prst="curvedConnector3">
              <a:avLst>
                <a:gd name="adj1" fmla="val 50000"/>
              </a:avLst>
            </a:prstGeom>
            <a:noFill/>
            <a:ln w="9525">
              <a:solidFill>
                <a:srgbClr val="1272AF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30" name="Shape 333"/>
            <p:cNvCxnSpPr>
              <a:cxnSpLocks noChangeShapeType="1"/>
            </p:cNvCxnSpPr>
            <p:nvPr/>
          </p:nvCxnSpPr>
          <p:spPr bwMode="auto">
            <a:xfrm rot="10800000" flipH="1">
              <a:off x="6413200" y="3155214"/>
              <a:ext cx="207900" cy="2763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oval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31" name="Shape 334"/>
            <p:cNvCxnSpPr>
              <a:cxnSpLocks noChangeShapeType="1"/>
            </p:cNvCxnSpPr>
            <p:nvPr/>
          </p:nvCxnSpPr>
          <p:spPr bwMode="auto">
            <a:xfrm>
              <a:off x="6598975" y="3177264"/>
              <a:ext cx="207900" cy="1980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32" name="Shape 335"/>
            <p:cNvCxnSpPr>
              <a:cxnSpLocks noChangeShapeType="1"/>
            </p:cNvCxnSpPr>
            <p:nvPr/>
          </p:nvCxnSpPr>
          <p:spPr bwMode="auto">
            <a:xfrm>
              <a:off x="6288525" y="2985775"/>
              <a:ext cx="0" cy="57030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triangl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33" name="Shape 336"/>
            <p:cNvCxnSpPr>
              <a:cxnSpLocks noChangeShapeType="1"/>
            </p:cNvCxnSpPr>
            <p:nvPr/>
          </p:nvCxnSpPr>
          <p:spPr bwMode="auto">
            <a:xfrm>
              <a:off x="6258770" y="3541407"/>
              <a:ext cx="1141499" cy="0"/>
            </a:xfrm>
            <a:prstGeom prst="straightConnector1">
              <a:avLst/>
            </a:prstGeom>
            <a:noFill/>
            <a:ln w="9525">
              <a:solidFill>
                <a:srgbClr val="CADFED"/>
              </a:solidFill>
              <a:round/>
              <a:headEnd type="oval" w="lg" len="lg"/>
              <a:tailEnd type="triangl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34" name="Shape 337"/>
            <p:cNvCxnSpPr>
              <a:cxnSpLocks noChangeShapeType="1"/>
            </p:cNvCxnSpPr>
            <p:nvPr/>
          </p:nvCxnSpPr>
          <p:spPr bwMode="auto">
            <a:xfrm rot="10800000">
              <a:off x="6782346" y="2986400"/>
              <a:ext cx="0" cy="555000"/>
            </a:xfrm>
            <a:prstGeom prst="straightConnector1">
              <a:avLst/>
            </a:prstGeom>
            <a:noFill/>
            <a:ln w="9525">
              <a:solidFill>
                <a:srgbClr val="1272AF"/>
              </a:solidFill>
              <a:prstDash val="dash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0513" name="Shape 338"/>
          <p:cNvGrpSpPr>
            <a:grpSpLocks/>
          </p:cNvGrpSpPr>
          <p:nvPr/>
        </p:nvGrpSpPr>
        <p:grpSpPr bwMode="auto">
          <a:xfrm>
            <a:off x="9565218" y="5431367"/>
            <a:ext cx="1454149" cy="726016"/>
            <a:chOff x="6264074" y="3651275"/>
            <a:chExt cx="1141500" cy="570300"/>
          </a:xfrm>
        </p:grpSpPr>
        <p:cxnSp>
          <p:nvCxnSpPr>
            <p:cNvPr id="20523" name="Shape 339"/>
            <p:cNvCxnSpPr>
              <a:cxnSpLocks noChangeShapeType="1"/>
            </p:cNvCxnSpPr>
            <p:nvPr/>
          </p:nvCxnSpPr>
          <p:spPr bwMode="auto">
            <a:xfrm>
              <a:off x="6786300" y="3935850"/>
              <a:ext cx="415800" cy="225000"/>
            </a:xfrm>
            <a:prstGeom prst="curvedConnector3">
              <a:avLst>
                <a:gd name="adj1" fmla="val 50000"/>
              </a:avLst>
            </a:prstGeom>
            <a:noFill/>
            <a:ln w="9525">
              <a:solidFill>
                <a:srgbClr val="FF0000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24" name="Shape 340"/>
            <p:cNvCxnSpPr>
              <a:cxnSpLocks noChangeShapeType="1"/>
            </p:cNvCxnSpPr>
            <p:nvPr/>
          </p:nvCxnSpPr>
          <p:spPr bwMode="auto">
            <a:xfrm rot="10800000" flipH="1">
              <a:off x="6413614" y="3739624"/>
              <a:ext cx="207899" cy="276300"/>
            </a:xfrm>
            <a:prstGeom prst="straightConnector1">
              <a:avLst/>
            </a:prstGeom>
            <a:noFill/>
            <a:ln w="9525">
              <a:solidFill>
                <a:srgbClr val="FF0000"/>
              </a:solidFill>
              <a:round/>
              <a:headEnd type="oval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25" name="Shape 341"/>
            <p:cNvCxnSpPr>
              <a:cxnSpLocks noChangeShapeType="1"/>
            </p:cNvCxnSpPr>
            <p:nvPr/>
          </p:nvCxnSpPr>
          <p:spPr bwMode="auto">
            <a:xfrm>
              <a:off x="6599389" y="3761674"/>
              <a:ext cx="207900" cy="198000"/>
            </a:xfrm>
            <a:prstGeom prst="straightConnector1">
              <a:avLst/>
            </a:prstGeom>
            <a:noFill/>
            <a:ln w="9525">
              <a:solidFill>
                <a:srgbClr val="FF0000"/>
              </a:solidFill>
              <a:round/>
              <a:headEnd type="none" w="lg" len="lg"/>
              <a:tailEnd type="oval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26" name="Shape 342"/>
            <p:cNvCxnSpPr>
              <a:cxnSpLocks noChangeShapeType="1"/>
            </p:cNvCxnSpPr>
            <p:nvPr/>
          </p:nvCxnSpPr>
          <p:spPr bwMode="auto">
            <a:xfrm>
              <a:off x="6293828" y="3651275"/>
              <a:ext cx="0" cy="570300"/>
            </a:xfrm>
            <a:prstGeom prst="straightConnector1">
              <a:avLst/>
            </a:prstGeom>
            <a:noFill/>
            <a:ln w="9525">
              <a:solidFill>
                <a:srgbClr val="FF0000"/>
              </a:solidFill>
              <a:round/>
              <a:headEnd type="triangl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27" name="Shape 343"/>
            <p:cNvCxnSpPr>
              <a:cxnSpLocks noChangeShapeType="1"/>
            </p:cNvCxnSpPr>
            <p:nvPr/>
          </p:nvCxnSpPr>
          <p:spPr bwMode="auto">
            <a:xfrm>
              <a:off x="6264074" y="4206907"/>
              <a:ext cx="1141500" cy="0"/>
            </a:xfrm>
            <a:prstGeom prst="straightConnector1">
              <a:avLst/>
            </a:prstGeom>
            <a:noFill/>
            <a:ln w="9525">
              <a:solidFill>
                <a:srgbClr val="FF0000"/>
              </a:solidFill>
              <a:round/>
              <a:headEnd type="oval" w="lg" len="lg"/>
              <a:tailEnd type="triangl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528" name="Shape 344"/>
            <p:cNvCxnSpPr>
              <a:cxnSpLocks noChangeShapeType="1"/>
            </p:cNvCxnSpPr>
            <p:nvPr/>
          </p:nvCxnSpPr>
          <p:spPr bwMode="auto">
            <a:xfrm rot="10800000">
              <a:off x="6787650" y="3651900"/>
              <a:ext cx="0" cy="555000"/>
            </a:xfrm>
            <a:prstGeom prst="straightConnector1">
              <a:avLst/>
            </a:prstGeom>
            <a:noFill/>
            <a:ln w="9525">
              <a:solidFill>
                <a:srgbClr val="FF0000"/>
              </a:solidFill>
              <a:prstDash val="dash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20514" name="Shape 345"/>
          <p:cNvCxnSpPr>
            <a:cxnSpLocks noChangeShapeType="1"/>
            <a:stCxn id="20581" idx="3"/>
          </p:cNvCxnSpPr>
          <p:nvPr/>
        </p:nvCxnSpPr>
        <p:spPr bwMode="auto">
          <a:xfrm rot="10800000" flipH="1">
            <a:off x="7973485" y="1873251"/>
            <a:ext cx="1460500" cy="15663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15" name="Shape 346"/>
          <p:cNvCxnSpPr>
            <a:cxnSpLocks noChangeShapeType="1"/>
            <a:stCxn id="20581" idx="3"/>
          </p:cNvCxnSpPr>
          <p:nvPr/>
        </p:nvCxnSpPr>
        <p:spPr bwMode="auto">
          <a:xfrm>
            <a:off x="7973484" y="2029884"/>
            <a:ext cx="1538816" cy="912284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16" name="Shape 347"/>
          <p:cNvCxnSpPr>
            <a:cxnSpLocks noChangeShapeType="1"/>
            <a:stCxn id="20574" idx="3"/>
          </p:cNvCxnSpPr>
          <p:nvPr/>
        </p:nvCxnSpPr>
        <p:spPr bwMode="auto">
          <a:xfrm>
            <a:off x="7973484" y="2967568"/>
            <a:ext cx="1473200" cy="808567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17" name="Shape 348"/>
          <p:cNvCxnSpPr>
            <a:cxnSpLocks noChangeShapeType="1"/>
            <a:stCxn id="20553" idx="3"/>
          </p:cNvCxnSpPr>
          <p:nvPr/>
        </p:nvCxnSpPr>
        <p:spPr bwMode="auto">
          <a:xfrm rot="10800000" flipH="1">
            <a:off x="7973484" y="4819650"/>
            <a:ext cx="1498600" cy="95673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18" name="Shape 349"/>
          <p:cNvCxnSpPr>
            <a:cxnSpLocks noChangeShapeType="1"/>
            <a:stCxn id="20553" idx="3"/>
          </p:cNvCxnSpPr>
          <p:nvPr/>
        </p:nvCxnSpPr>
        <p:spPr bwMode="auto">
          <a:xfrm>
            <a:off x="7973485" y="5776384"/>
            <a:ext cx="1460500" cy="243417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19" name="Shape 350"/>
          <p:cNvCxnSpPr>
            <a:cxnSpLocks noChangeShapeType="1"/>
            <a:stCxn id="20560" idx="3"/>
          </p:cNvCxnSpPr>
          <p:nvPr/>
        </p:nvCxnSpPr>
        <p:spPr bwMode="auto">
          <a:xfrm rot="10800000" flipH="1">
            <a:off x="7973485" y="3945468"/>
            <a:ext cx="1551516" cy="893233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520" name="Shape 351"/>
          <p:cNvCxnSpPr>
            <a:cxnSpLocks noChangeShapeType="1"/>
            <a:stCxn id="20560" idx="3"/>
          </p:cNvCxnSpPr>
          <p:nvPr/>
        </p:nvCxnSpPr>
        <p:spPr bwMode="auto">
          <a:xfrm>
            <a:off x="7973485" y="4838701"/>
            <a:ext cx="1407583" cy="905933"/>
          </a:xfrm>
          <a:prstGeom prst="curvedConnector3">
            <a:avLst>
              <a:gd name="adj1" fmla="val 50000"/>
            </a:avLst>
          </a:prstGeom>
          <a:ln>
            <a:solidFill>
              <a:srgbClr val="FF0000"/>
            </a:solidFill>
            <a:headEnd type="none" w="lg" len="lg"/>
            <a:tailEnd type="none" w="lg" len="lg"/>
          </a:ln>
          <a:extLst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521" name="Shape 352"/>
          <p:cNvCxnSpPr>
            <a:cxnSpLocks noChangeShapeType="1"/>
            <a:stCxn id="20574" idx="3"/>
          </p:cNvCxnSpPr>
          <p:nvPr/>
        </p:nvCxnSpPr>
        <p:spPr bwMode="auto">
          <a:xfrm rot="10800000" flipH="1">
            <a:off x="7973485" y="2120901"/>
            <a:ext cx="1460500" cy="846667"/>
          </a:xfrm>
          <a:prstGeom prst="curvedConnector3">
            <a:avLst>
              <a:gd name="adj1" fmla="val 50000"/>
            </a:avLst>
          </a:prstGeom>
          <a:noFill/>
          <a:ln w="9525">
            <a:solidFill>
              <a:srgbClr val="CADFED"/>
            </a:solidFill>
            <a:round/>
            <a:headEnd type="none" w="lg" len="lg"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0522" name="Shape 353"/>
          <p:cNvSpPr txBox="1">
            <a:spLocks noGrp="1"/>
          </p:cNvSpPr>
          <p:nvPr>
            <p:ph type="subTitle" idx="4294967295"/>
          </p:nvPr>
        </p:nvSpPr>
        <p:spPr>
          <a:xfrm>
            <a:off x="749301" y="6542617"/>
            <a:ext cx="2180167" cy="237566"/>
          </a:xfrm>
        </p:spPr>
        <p:txBody>
          <a:bodyPr/>
          <a:lstStyle/>
          <a:p>
            <a:pPr algn="ctr">
              <a:lnSpc>
                <a:spcPct val="115000"/>
              </a:lnSpc>
              <a:spcAft>
                <a:spcPts val="2133"/>
              </a:spcAft>
              <a:buClr>
                <a:srgbClr val="000000"/>
              </a:buClr>
            </a:pPr>
            <a:r>
              <a:rPr lang="ru-RU" altLang="ru-RU" sz="1467" dirty="0" smtClean="0">
                <a:solidFill>
                  <a:srgbClr val="485C69"/>
                </a:solidFill>
                <a:latin typeface="Open Sans" charset="0"/>
                <a:cs typeface="Arial" panose="020B0604020202020204" pitchFamily="34" charset="0"/>
                <a:sym typeface="Open Sans" charset="0"/>
              </a:rPr>
              <a:t>Человек</a:t>
            </a:r>
            <a:endParaRPr lang="ru-RU" altLang="ru-RU" sz="1467" dirty="0">
              <a:solidFill>
                <a:srgbClr val="485C69"/>
              </a:solidFill>
              <a:latin typeface="Open Sans" charset="0"/>
              <a:cs typeface="Arial" panose="020B0604020202020204" pitchFamily="34" charset="0"/>
              <a:sym typeface="Open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0261999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439945" y="3700805"/>
            <a:ext cx="4836837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800" b="1" dirty="0" smtClean="0"/>
              <a:t>www.nutrilogic.ru</a:t>
            </a:r>
            <a:endParaRPr lang="ru-RU" sz="4800" b="1" dirty="0" smtClean="0">
              <a:solidFill>
                <a:srgbClr val="FF0000"/>
              </a:solidFill>
            </a:endParaRPr>
          </a:p>
        </p:txBody>
      </p:sp>
      <p:sp>
        <p:nvSpPr>
          <p:cNvPr id="4" name="Rectangle 7"/>
          <p:cNvSpPr/>
          <p:nvPr>
            <p:custDataLst>
              <p:tags r:id="rId1"/>
            </p:custDataLst>
          </p:nvPr>
        </p:nvSpPr>
        <p:spPr bwMode="auto">
          <a:xfrm>
            <a:off x="8237097" y="5146107"/>
            <a:ext cx="3928989" cy="15831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89000">
              <a:defRPr/>
            </a:pPr>
            <a:r>
              <a:rPr lang="ru-RU" sz="1600" b="1" kern="0" dirty="0" smtClean="0">
                <a:solidFill>
                  <a:srgbClr val="345782"/>
                </a:solidFill>
                <a:ea typeface="Tahoma" pitchFamily="34" charset="0"/>
                <a:cs typeface="Tahoma" pitchFamily="34" charset="0"/>
              </a:rPr>
              <a:t>Общероссийская общественная организация</a:t>
            </a:r>
          </a:p>
          <a:p>
            <a:pPr defTabSz="889000">
              <a:defRPr/>
            </a:pPr>
            <a:r>
              <a:rPr lang="ru-RU" sz="1600" b="1" kern="0" dirty="0" smtClean="0">
                <a:solidFill>
                  <a:srgbClr val="345782"/>
                </a:solidFill>
                <a:ea typeface="Tahoma" pitchFamily="34" charset="0"/>
                <a:cs typeface="Tahoma" pitchFamily="34" charset="0"/>
              </a:rPr>
              <a:t>«Российский союз нутрициологов, диетологов и специалистов пищевой индустрии» (РоСНДП)</a:t>
            </a:r>
            <a:endParaRPr lang="" sz="1600" b="1" kern="0" dirty="0" smtClean="0">
              <a:solidFill>
                <a:srgbClr val="345782"/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5" name="Рисунок 4" descr="Logo_RosDietStandart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32078" y="4964118"/>
            <a:ext cx="1928949" cy="1869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8594" name="AutoShape 2" descr="Картинки по запросу ассоциация врачей общей практики московской области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38596" name="AutoShape 4" descr="Картинки по запросу ассоциация врачей общей практики московской области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011501" y="1532319"/>
            <a:ext cx="7693726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kern="0" dirty="0" smtClean="0">
                <a:solidFill>
                  <a:srgbClr val="345782"/>
                </a:solidFill>
                <a:ea typeface="Tahoma" pitchFamily="34" charset="0"/>
                <a:cs typeface="Tahoma" pitchFamily="34" charset="0"/>
              </a:rPr>
              <a:t>Контакты:</a:t>
            </a:r>
          </a:p>
          <a:p>
            <a:pPr algn="ctr"/>
            <a:r>
              <a:rPr lang="ru-RU" sz="3200" b="1" kern="0" dirty="0" smtClean="0">
                <a:solidFill>
                  <a:srgbClr val="345782"/>
                </a:solidFill>
                <a:ea typeface="Tahoma" pitchFamily="34" charset="0"/>
                <a:cs typeface="Tahoma" pitchFamily="34" charset="0"/>
              </a:rPr>
              <a:t>Богданов Альфред Равилевич</a:t>
            </a:r>
          </a:p>
          <a:p>
            <a:pPr algn="ctr"/>
            <a:endParaRPr lang="ru-RU" sz="3200" b="1" kern="0" dirty="0">
              <a:solidFill>
                <a:srgbClr val="345782"/>
              </a:solidFill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3200" b="1" kern="0" dirty="0" smtClean="0">
                <a:solidFill>
                  <a:srgbClr val="345782"/>
                </a:solidFill>
                <a:ea typeface="Tahoma" pitchFamily="34" charset="0"/>
                <a:cs typeface="Tahoma" pitchFamily="34" charset="0"/>
              </a:rPr>
              <a:t>+7916-345-03-91, </a:t>
            </a:r>
            <a:r>
              <a:rPr lang="en-US" sz="3200" b="1" kern="0" dirty="0" smtClean="0">
                <a:solidFill>
                  <a:srgbClr val="345782"/>
                </a:solidFill>
                <a:ea typeface="Tahoma" pitchFamily="34" charset="0"/>
                <a:cs typeface="Tahoma" pitchFamily="34" charset="0"/>
              </a:rPr>
              <a:t>bogdanov.ar@mail.ru</a:t>
            </a:r>
            <a:endParaRPr lang="ru-RU" sz="3200" b="1" kern="0" dirty="0" smtClean="0">
              <a:solidFill>
                <a:srgbClr val="345782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object 11"/>
          <p:cNvSpPr txBox="1">
            <a:spLocks noGrp="1"/>
          </p:cNvSpPr>
          <p:nvPr>
            <p:ph type="title"/>
          </p:nvPr>
        </p:nvSpPr>
        <p:spPr>
          <a:xfrm>
            <a:off x="0" y="486924"/>
            <a:ext cx="12192000" cy="5366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algn="ctr"/>
            <a:r>
              <a:rPr lang="ru-RU" sz="3487" spc="6" dirty="0" smtClean="0"/>
              <a:t>Благодарю за внимание!</a:t>
            </a:r>
            <a:endParaRPr sz="3487" dirty="0"/>
          </a:p>
        </p:txBody>
      </p:sp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60375" y="5146107"/>
            <a:ext cx="1698728" cy="144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7"/>
          <p:cNvSpPr/>
          <p:nvPr>
            <p:custDataLst>
              <p:tags r:id="rId2"/>
            </p:custDataLst>
          </p:nvPr>
        </p:nvSpPr>
        <p:spPr bwMode="auto">
          <a:xfrm>
            <a:off x="2426847" y="5146107"/>
            <a:ext cx="3928989" cy="15831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889000">
              <a:defRPr/>
            </a:pPr>
            <a:r>
              <a:rPr lang="ru-RU" sz="1600" b="1" kern="0" dirty="0" smtClean="0">
                <a:solidFill>
                  <a:srgbClr val="345782"/>
                </a:solidFill>
                <a:ea typeface="Tahoma" pitchFamily="34" charset="0"/>
                <a:cs typeface="Tahoma" pitchFamily="34" charset="0"/>
              </a:rPr>
              <a:t>Федеральное государственное бюджетное учреждение науки </a:t>
            </a:r>
          </a:p>
          <a:p>
            <a:pPr defTabSz="889000">
              <a:defRPr/>
            </a:pPr>
            <a:r>
              <a:rPr lang="ru-RU" sz="1600" b="1" kern="0" dirty="0" smtClean="0">
                <a:solidFill>
                  <a:srgbClr val="345782"/>
                </a:solidFill>
                <a:ea typeface="Tahoma" pitchFamily="34" charset="0"/>
                <a:cs typeface="Tahoma" pitchFamily="34" charset="0"/>
              </a:rPr>
              <a:t>Федеральный исследовательский центр питания, биотехнологии и безопасности пищи</a:t>
            </a:r>
            <a:endParaRPr lang="" sz="1600" b="1" kern="0" dirty="0" smtClean="0">
              <a:solidFill>
                <a:srgbClr val="345782"/>
              </a:solidFill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8619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12"/>
          <p:cNvSpPr/>
          <p:nvPr/>
        </p:nvSpPr>
        <p:spPr>
          <a:xfrm>
            <a:off x="11460017" y="450205"/>
            <a:ext cx="432785" cy="43278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/>
            <a:endParaRPr sz="1092">
              <a:solidFill>
                <a:prstClr val="black"/>
              </a:solidFill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430" y="1850069"/>
            <a:ext cx="12191144" cy="4728208"/>
          </a:xfrm>
          <a:custGeom>
            <a:avLst/>
            <a:gdLst/>
            <a:ahLst/>
            <a:cxnLst/>
            <a:rect l="l" t="t" r="r" b="b"/>
            <a:pathLst>
              <a:path w="20104100" h="7797165">
                <a:moveTo>
                  <a:pt x="954315" y="2686253"/>
                </a:moveTo>
                <a:lnTo>
                  <a:pt x="908917" y="2689632"/>
                </a:lnTo>
                <a:lnTo>
                  <a:pt x="864039" y="2697941"/>
                </a:lnTo>
                <a:lnTo>
                  <a:pt x="820101" y="2711173"/>
                </a:lnTo>
                <a:lnTo>
                  <a:pt x="777521" y="2729321"/>
                </a:lnTo>
                <a:lnTo>
                  <a:pt x="736721" y="2752376"/>
                </a:lnTo>
                <a:lnTo>
                  <a:pt x="0" y="3224613"/>
                </a:lnTo>
                <a:lnTo>
                  <a:pt x="0" y="7796935"/>
                </a:lnTo>
                <a:lnTo>
                  <a:pt x="20104099" y="7796935"/>
                </a:lnTo>
                <a:lnTo>
                  <a:pt x="20104099" y="3413772"/>
                </a:lnTo>
                <a:lnTo>
                  <a:pt x="2443551" y="3413772"/>
                </a:lnTo>
                <a:lnTo>
                  <a:pt x="2397402" y="3412446"/>
                </a:lnTo>
                <a:lnTo>
                  <a:pt x="2351615" y="3406047"/>
                </a:lnTo>
                <a:lnTo>
                  <a:pt x="2306623" y="3394588"/>
                </a:lnTo>
                <a:lnTo>
                  <a:pt x="2262863" y="3378083"/>
                </a:lnTo>
                <a:lnTo>
                  <a:pt x="2220770" y="3356547"/>
                </a:lnTo>
                <a:lnTo>
                  <a:pt x="1174414" y="2743581"/>
                </a:lnTo>
                <a:lnTo>
                  <a:pt x="1132711" y="2722194"/>
                </a:lnTo>
                <a:lnTo>
                  <a:pt x="1089431" y="2705775"/>
                </a:lnTo>
                <a:lnTo>
                  <a:pt x="1044991" y="2694317"/>
                </a:lnTo>
                <a:lnTo>
                  <a:pt x="999813" y="2687812"/>
                </a:lnTo>
                <a:lnTo>
                  <a:pt x="954315" y="2686253"/>
                </a:lnTo>
                <a:close/>
              </a:path>
              <a:path w="20104100" h="7797165">
                <a:moveTo>
                  <a:pt x="3414144" y="3016375"/>
                </a:moveTo>
                <a:lnTo>
                  <a:pt x="3364400" y="3019070"/>
                </a:lnTo>
                <a:lnTo>
                  <a:pt x="3315318" y="3027664"/>
                </a:lnTo>
                <a:lnTo>
                  <a:pt x="3267430" y="3042098"/>
                </a:lnTo>
                <a:lnTo>
                  <a:pt x="3221263" y="3062315"/>
                </a:lnTo>
                <a:lnTo>
                  <a:pt x="2623061" y="3368064"/>
                </a:lnTo>
                <a:lnTo>
                  <a:pt x="2579816" y="3387170"/>
                </a:lnTo>
                <a:lnTo>
                  <a:pt x="2535193" y="3401148"/>
                </a:lnTo>
                <a:lnTo>
                  <a:pt x="2489626" y="3410010"/>
                </a:lnTo>
                <a:lnTo>
                  <a:pt x="2443551" y="3413772"/>
                </a:lnTo>
                <a:lnTo>
                  <a:pt x="20104099" y="3413772"/>
                </a:lnTo>
                <a:lnTo>
                  <a:pt x="20104099" y="3206399"/>
                </a:lnTo>
                <a:lnTo>
                  <a:pt x="4266141" y="3206399"/>
                </a:lnTo>
                <a:lnTo>
                  <a:pt x="4219944" y="3202808"/>
                </a:lnTo>
                <a:lnTo>
                  <a:pt x="4174009" y="3194038"/>
                </a:lnTo>
                <a:lnTo>
                  <a:pt x="3513505" y="3028913"/>
                </a:lnTo>
                <a:lnTo>
                  <a:pt x="3464022" y="3019636"/>
                </a:lnTo>
                <a:lnTo>
                  <a:pt x="3414144" y="3016375"/>
                </a:lnTo>
                <a:close/>
              </a:path>
              <a:path w="20104100" h="7797165">
                <a:moveTo>
                  <a:pt x="8469156" y="308253"/>
                </a:moveTo>
                <a:lnTo>
                  <a:pt x="8421796" y="308962"/>
                </a:lnTo>
                <a:lnTo>
                  <a:pt x="8374954" y="314990"/>
                </a:lnTo>
                <a:lnTo>
                  <a:pt x="8329084" y="326250"/>
                </a:lnTo>
                <a:lnTo>
                  <a:pt x="8284639" y="342656"/>
                </a:lnTo>
                <a:lnTo>
                  <a:pt x="8242075" y="364122"/>
                </a:lnTo>
                <a:lnTo>
                  <a:pt x="8201844" y="390564"/>
                </a:lnTo>
                <a:lnTo>
                  <a:pt x="4525516" y="3123779"/>
                </a:lnTo>
                <a:lnTo>
                  <a:pt x="4486487" y="3149538"/>
                </a:lnTo>
                <a:lnTo>
                  <a:pt x="4445222" y="3170611"/>
                </a:lnTo>
                <a:lnTo>
                  <a:pt x="4402140" y="3186916"/>
                </a:lnTo>
                <a:lnTo>
                  <a:pt x="4357655" y="3198371"/>
                </a:lnTo>
                <a:lnTo>
                  <a:pt x="4312183" y="3204892"/>
                </a:lnTo>
                <a:lnTo>
                  <a:pt x="4266141" y="3206399"/>
                </a:lnTo>
                <a:lnTo>
                  <a:pt x="20104099" y="3206399"/>
                </a:lnTo>
                <a:lnTo>
                  <a:pt x="20104099" y="1478704"/>
                </a:lnTo>
                <a:lnTo>
                  <a:pt x="17457747" y="1478704"/>
                </a:lnTo>
                <a:lnTo>
                  <a:pt x="17412036" y="1477116"/>
                </a:lnTo>
                <a:lnTo>
                  <a:pt x="17366539" y="1470501"/>
                </a:lnTo>
                <a:lnTo>
                  <a:pt x="17349770" y="1466129"/>
                </a:lnTo>
                <a:lnTo>
                  <a:pt x="12732043" y="1466129"/>
                </a:lnTo>
                <a:lnTo>
                  <a:pt x="12681791" y="1461647"/>
                </a:lnTo>
                <a:lnTo>
                  <a:pt x="12632076" y="1451055"/>
                </a:lnTo>
                <a:lnTo>
                  <a:pt x="8563613" y="323131"/>
                </a:lnTo>
                <a:lnTo>
                  <a:pt x="8516580" y="312947"/>
                </a:lnTo>
                <a:lnTo>
                  <a:pt x="8469156" y="308253"/>
                </a:lnTo>
                <a:close/>
              </a:path>
              <a:path w="20104100" h="7797165">
                <a:moveTo>
                  <a:pt x="18928586" y="338037"/>
                </a:moveTo>
                <a:lnTo>
                  <a:pt x="18880717" y="340158"/>
                </a:lnTo>
                <a:lnTo>
                  <a:pt x="18833536" y="347698"/>
                </a:lnTo>
                <a:lnTo>
                  <a:pt x="18787517" y="360557"/>
                </a:lnTo>
                <a:lnTo>
                  <a:pt x="18743135" y="378632"/>
                </a:lnTo>
                <a:lnTo>
                  <a:pt x="18700866" y="401820"/>
                </a:lnTo>
                <a:lnTo>
                  <a:pt x="18661184" y="430019"/>
                </a:lnTo>
                <a:lnTo>
                  <a:pt x="18624563" y="463127"/>
                </a:lnTo>
                <a:lnTo>
                  <a:pt x="17748045" y="1353676"/>
                </a:lnTo>
                <a:lnTo>
                  <a:pt x="17712729" y="1385742"/>
                </a:lnTo>
                <a:lnTo>
                  <a:pt x="17674653" y="1413165"/>
                </a:lnTo>
                <a:lnTo>
                  <a:pt x="17634242" y="1435888"/>
                </a:lnTo>
                <a:lnTo>
                  <a:pt x="17591920" y="1453859"/>
                </a:lnTo>
                <a:lnTo>
                  <a:pt x="17548114" y="1467021"/>
                </a:lnTo>
                <a:lnTo>
                  <a:pt x="17503248" y="1475321"/>
                </a:lnTo>
                <a:lnTo>
                  <a:pt x="17457747" y="1478704"/>
                </a:lnTo>
                <a:lnTo>
                  <a:pt x="20104099" y="1478704"/>
                </a:lnTo>
                <a:lnTo>
                  <a:pt x="20104099" y="442868"/>
                </a:lnTo>
                <a:lnTo>
                  <a:pt x="19344285" y="442868"/>
                </a:lnTo>
                <a:lnTo>
                  <a:pt x="19297231" y="439198"/>
                </a:lnTo>
                <a:lnTo>
                  <a:pt x="19250532" y="430162"/>
                </a:lnTo>
                <a:lnTo>
                  <a:pt x="19204640" y="415694"/>
                </a:lnTo>
                <a:lnTo>
                  <a:pt x="19071565" y="365224"/>
                </a:lnTo>
                <a:lnTo>
                  <a:pt x="19024485" y="350468"/>
                </a:lnTo>
                <a:lnTo>
                  <a:pt x="18976667" y="341440"/>
                </a:lnTo>
                <a:lnTo>
                  <a:pt x="18928586" y="338037"/>
                </a:lnTo>
                <a:close/>
              </a:path>
              <a:path w="20104100" h="7797165">
                <a:moveTo>
                  <a:pt x="15295632" y="325461"/>
                </a:moveTo>
                <a:lnTo>
                  <a:pt x="15244316" y="326481"/>
                </a:lnTo>
                <a:lnTo>
                  <a:pt x="15193328" y="333798"/>
                </a:lnTo>
                <a:lnTo>
                  <a:pt x="15143263" y="347437"/>
                </a:lnTo>
                <a:lnTo>
                  <a:pt x="15094713" y="367423"/>
                </a:lnTo>
                <a:lnTo>
                  <a:pt x="12927564" y="1423935"/>
                </a:lnTo>
                <a:lnTo>
                  <a:pt x="12880593" y="1443403"/>
                </a:lnTo>
                <a:lnTo>
                  <a:pt x="12831987" y="1456957"/>
                </a:lnTo>
                <a:lnTo>
                  <a:pt x="12782290" y="1464549"/>
                </a:lnTo>
                <a:lnTo>
                  <a:pt x="12732043" y="1466129"/>
                </a:lnTo>
                <a:lnTo>
                  <a:pt x="17349770" y="1466129"/>
                </a:lnTo>
                <a:lnTo>
                  <a:pt x="17321683" y="1458806"/>
                </a:lnTo>
                <a:lnTo>
                  <a:pt x="17277891" y="1441976"/>
                </a:lnTo>
                <a:lnTo>
                  <a:pt x="17235590" y="1419956"/>
                </a:lnTo>
                <a:lnTo>
                  <a:pt x="15492303" y="383862"/>
                </a:lnTo>
                <a:lnTo>
                  <a:pt x="15445611" y="359939"/>
                </a:lnTo>
                <a:lnTo>
                  <a:pt x="15396873" y="342214"/>
                </a:lnTo>
                <a:lnTo>
                  <a:pt x="15346682" y="330713"/>
                </a:lnTo>
                <a:lnTo>
                  <a:pt x="15295632" y="325461"/>
                </a:lnTo>
                <a:close/>
              </a:path>
              <a:path w="20104100" h="7797165">
                <a:moveTo>
                  <a:pt x="20104099" y="0"/>
                </a:moveTo>
                <a:lnTo>
                  <a:pt x="20044637" y="26753"/>
                </a:lnTo>
                <a:lnTo>
                  <a:pt x="19987443" y="64186"/>
                </a:lnTo>
                <a:lnTo>
                  <a:pt x="19608827" y="355905"/>
                </a:lnTo>
                <a:lnTo>
                  <a:pt x="19569108" y="383041"/>
                </a:lnTo>
                <a:lnTo>
                  <a:pt x="19527040" y="405208"/>
                </a:lnTo>
                <a:lnTo>
                  <a:pt x="19483072" y="422341"/>
                </a:lnTo>
                <a:lnTo>
                  <a:pt x="19437657" y="434372"/>
                </a:lnTo>
                <a:lnTo>
                  <a:pt x="19391244" y="441237"/>
                </a:lnTo>
                <a:lnTo>
                  <a:pt x="19344285" y="442868"/>
                </a:lnTo>
                <a:lnTo>
                  <a:pt x="20104099" y="442868"/>
                </a:lnTo>
                <a:lnTo>
                  <a:pt x="20104099" y="0"/>
                </a:lnTo>
                <a:close/>
              </a:path>
            </a:pathLst>
          </a:custGeom>
          <a:solidFill>
            <a:srgbClr val="EDEFEF"/>
          </a:solidFill>
        </p:spPr>
        <p:txBody>
          <a:bodyPr wrap="square" lIns="0" tIns="0" rIns="0" bIns="0" rtlCol="0"/>
          <a:lstStyle/>
          <a:p>
            <a:pPr defTabSz="914400"/>
            <a:endParaRPr sz="1092">
              <a:solidFill>
                <a:prstClr val="black"/>
              </a:solidFill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428" y="4099919"/>
            <a:ext cx="12191144" cy="2766689"/>
          </a:xfrm>
          <a:custGeom>
            <a:avLst/>
            <a:gdLst/>
            <a:ahLst/>
            <a:cxnLst/>
            <a:rect l="l" t="t" r="r" b="b"/>
            <a:pathLst>
              <a:path w="20104100" h="4562475">
                <a:moveTo>
                  <a:pt x="0" y="346377"/>
                </a:moveTo>
                <a:lnTo>
                  <a:pt x="0" y="4562270"/>
                </a:lnTo>
                <a:lnTo>
                  <a:pt x="20104099" y="4562270"/>
                </a:lnTo>
                <a:lnTo>
                  <a:pt x="20104099" y="3760149"/>
                </a:lnTo>
                <a:lnTo>
                  <a:pt x="17660548" y="3760149"/>
                </a:lnTo>
                <a:lnTo>
                  <a:pt x="17614473" y="3756388"/>
                </a:lnTo>
                <a:lnTo>
                  <a:pt x="17568906" y="3747525"/>
                </a:lnTo>
                <a:lnTo>
                  <a:pt x="17524283" y="3733548"/>
                </a:lnTo>
                <a:lnTo>
                  <a:pt x="17481038" y="3714442"/>
                </a:lnTo>
                <a:lnTo>
                  <a:pt x="17164733" y="3552777"/>
                </a:lnTo>
                <a:lnTo>
                  <a:pt x="15837958" y="3552777"/>
                </a:lnTo>
                <a:lnTo>
                  <a:pt x="15791916" y="3551270"/>
                </a:lnTo>
                <a:lnTo>
                  <a:pt x="15746444" y="3544748"/>
                </a:lnTo>
                <a:lnTo>
                  <a:pt x="15701959" y="3533294"/>
                </a:lnTo>
                <a:lnTo>
                  <a:pt x="15658876" y="3516989"/>
                </a:lnTo>
                <a:lnTo>
                  <a:pt x="15617612" y="3495916"/>
                </a:lnTo>
                <a:lnTo>
                  <a:pt x="15578583" y="3470157"/>
                </a:lnTo>
                <a:lnTo>
                  <a:pt x="11544574" y="1825082"/>
                </a:lnTo>
                <a:lnTo>
                  <a:pt x="2646350" y="1825082"/>
                </a:lnTo>
                <a:lnTo>
                  <a:pt x="2600850" y="1821699"/>
                </a:lnTo>
                <a:lnTo>
                  <a:pt x="2555984" y="1813399"/>
                </a:lnTo>
                <a:lnTo>
                  <a:pt x="2512178" y="1800236"/>
                </a:lnTo>
                <a:lnTo>
                  <a:pt x="2469857" y="1782266"/>
                </a:lnTo>
                <a:lnTo>
                  <a:pt x="2429446" y="1759543"/>
                </a:lnTo>
                <a:lnTo>
                  <a:pt x="2391370" y="1732120"/>
                </a:lnTo>
                <a:lnTo>
                  <a:pt x="2356053" y="1700053"/>
                </a:lnTo>
                <a:lnTo>
                  <a:pt x="1479536" y="809505"/>
                </a:lnTo>
                <a:lnTo>
                  <a:pt x="1457127" y="789245"/>
                </a:lnTo>
                <a:lnTo>
                  <a:pt x="759806" y="789245"/>
                </a:lnTo>
                <a:lnTo>
                  <a:pt x="712848" y="787615"/>
                </a:lnTo>
                <a:lnTo>
                  <a:pt x="666438" y="780750"/>
                </a:lnTo>
                <a:lnTo>
                  <a:pt x="621024" y="768719"/>
                </a:lnTo>
                <a:lnTo>
                  <a:pt x="577058" y="751586"/>
                </a:lnTo>
                <a:lnTo>
                  <a:pt x="534990" y="729418"/>
                </a:lnTo>
                <a:lnTo>
                  <a:pt x="495272" y="702283"/>
                </a:lnTo>
                <a:lnTo>
                  <a:pt x="116645" y="410564"/>
                </a:lnTo>
                <a:lnTo>
                  <a:pt x="98097" y="397017"/>
                </a:lnTo>
                <a:lnTo>
                  <a:pt x="60058" y="373458"/>
                </a:lnTo>
                <a:lnTo>
                  <a:pt x="20392" y="354322"/>
                </a:lnTo>
                <a:lnTo>
                  <a:pt x="10205" y="350207"/>
                </a:lnTo>
                <a:lnTo>
                  <a:pt x="0" y="346377"/>
                </a:lnTo>
                <a:close/>
              </a:path>
              <a:path w="20104100" h="4562475">
                <a:moveTo>
                  <a:pt x="19149784" y="3032631"/>
                </a:moveTo>
                <a:lnTo>
                  <a:pt x="19104286" y="3034190"/>
                </a:lnTo>
                <a:lnTo>
                  <a:pt x="19059108" y="3040695"/>
                </a:lnTo>
                <a:lnTo>
                  <a:pt x="19014668" y="3052153"/>
                </a:lnTo>
                <a:lnTo>
                  <a:pt x="18971388" y="3068572"/>
                </a:lnTo>
                <a:lnTo>
                  <a:pt x="18929685" y="3089959"/>
                </a:lnTo>
                <a:lnTo>
                  <a:pt x="17883329" y="3702924"/>
                </a:lnTo>
                <a:lnTo>
                  <a:pt x="17841236" y="3724461"/>
                </a:lnTo>
                <a:lnTo>
                  <a:pt x="17797476" y="3740966"/>
                </a:lnTo>
                <a:lnTo>
                  <a:pt x="17752484" y="3752424"/>
                </a:lnTo>
                <a:lnTo>
                  <a:pt x="17706697" y="3758824"/>
                </a:lnTo>
                <a:lnTo>
                  <a:pt x="17660548" y="3760149"/>
                </a:lnTo>
                <a:lnTo>
                  <a:pt x="20104099" y="3760149"/>
                </a:lnTo>
                <a:lnTo>
                  <a:pt x="20104099" y="3570991"/>
                </a:lnTo>
                <a:lnTo>
                  <a:pt x="19367378" y="3098754"/>
                </a:lnTo>
                <a:lnTo>
                  <a:pt x="19326578" y="3075699"/>
                </a:lnTo>
                <a:lnTo>
                  <a:pt x="19283998" y="3057551"/>
                </a:lnTo>
                <a:lnTo>
                  <a:pt x="19240060" y="3044319"/>
                </a:lnTo>
                <a:lnTo>
                  <a:pt x="19195182" y="3036009"/>
                </a:lnTo>
                <a:lnTo>
                  <a:pt x="19149784" y="3032631"/>
                </a:lnTo>
                <a:close/>
              </a:path>
              <a:path w="20104100" h="4562475">
                <a:moveTo>
                  <a:pt x="16689954" y="3362752"/>
                </a:moveTo>
                <a:lnTo>
                  <a:pt x="16640076" y="3366014"/>
                </a:lnTo>
                <a:lnTo>
                  <a:pt x="16590594" y="3375290"/>
                </a:lnTo>
                <a:lnTo>
                  <a:pt x="15930090" y="3540416"/>
                </a:lnTo>
                <a:lnTo>
                  <a:pt x="15884155" y="3549186"/>
                </a:lnTo>
                <a:lnTo>
                  <a:pt x="15837958" y="3552777"/>
                </a:lnTo>
                <a:lnTo>
                  <a:pt x="17164733" y="3552777"/>
                </a:lnTo>
                <a:lnTo>
                  <a:pt x="16882826" y="3408692"/>
                </a:lnTo>
                <a:lnTo>
                  <a:pt x="16836663" y="3388476"/>
                </a:lnTo>
                <a:lnTo>
                  <a:pt x="16788777" y="3374042"/>
                </a:lnTo>
                <a:lnTo>
                  <a:pt x="16739698" y="3365448"/>
                </a:lnTo>
                <a:lnTo>
                  <a:pt x="16689954" y="3362752"/>
                </a:lnTo>
                <a:close/>
              </a:path>
              <a:path w="20104100" h="4562475">
                <a:moveTo>
                  <a:pt x="6924101" y="0"/>
                </a:moveTo>
                <a:lnTo>
                  <a:pt x="6877231" y="417"/>
                </a:lnTo>
                <a:lnTo>
                  <a:pt x="6830421" y="3195"/>
                </a:lnTo>
                <a:lnTo>
                  <a:pt x="6783646" y="8363"/>
                </a:lnTo>
                <a:lnTo>
                  <a:pt x="6736883" y="15950"/>
                </a:lnTo>
                <a:lnTo>
                  <a:pt x="6690109" y="25985"/>
                </a:lnTo>
                <a:lnTo>
                  <a:pt x="6643298" y="38498"/>
                </a:lnTo>
                <a:lnTo>
                  <a:pt x="6596429" y="53519"/>
                </a:lnTo>
                <a:lnTo>
                  <a:pt x="6549477" y="71077"/>
                </a:lnTo>
                <a:lnTo>
                  <a:pt x="6502419" y="91202"/>
                </a:lnTo>
                <a:lnTo>
                  <a:pt x="2868499" y="1766334"/>
                </a:lnTo>
                <a:lnTo>
                  <a:pt x="2826199" y="1788354"/>
                </a:lnTo>
                <a:lnTo>
                  <a:pt x="2782410" y="1805184"/>
                </a:lnTo>
                <a:lnTo>
                  <a:pt x="2737555" y="1816879"/>
                </a:lnTo>
                <a:lnTo>
                  <a:pt x="2692060" y="1823493"/>
                </a:lnTo>
                <a:lnTo>
                  <a:pt x="2646350" y="1825082"/>
                </a:lnTo>
                <a:lnTo>
                  <a:pt x="11544574" y="1825082"/>
                </a:lnTo>
                <a:lnTo>
                  <a:pt x="7549508" y="195911"/>
                </a:lnTo>
                <a:lnTo>
                  <a:pt x="7499724" y="168332"/>
                </a:lnTo>
                <a:lnTo>
                  <a:pt x="7450306" y="142730"/>
                </a:lnTo>
                <a:lnTo>
                  <a:pt x="7401230" y="119134"/>
                </a:lnTo>
                <a:lnTo>
                  <a:pt x="7352473" y="97574"/>
                </a:lnTo>
                <a:lnTo>
                  <a:pt x="7304010" y="78079"/>
                </a:lnTo>
                <a:lnTo>
                  <a:pt x="7255820" y="60678"/>
                </a:lnTo>
                <a:lnTo>
                  <a:pt x="7207877" y="45402"/>
                </a:lnTo>
                <a:lnTo>
                  <a:pt x="7160158" y="32279"/>
                </a:lnTo>
                <a:lnTo>
                  <a:pt x="7112639" y="21339"/>
                </a:lnTo>
                <a:lnTo>
                  <a:pt x="7065298" y="12611"/>
                </a:lnTo>
                <a:lnTo>
                  <a:pt x="7018110" y="6126"/>
                </a:lnTo>
                <a:lnTo>
                  <a:pt x="6971052" y="1912"/>
                </a:lnTo>
                <a:lnTo>
                  <a:pt x="6924101" y="0"/>
                </a:lnTo>
                <a:close/>
              </a:path>
              <a:path w="20104100" h="4562475">
                <a:moveTo>
                  <a:pt x="1175513" y="684415"/>
                </a:moveTo>
                <a:lnTo>
                  <a:pt x="1127432" y="687818"/>
                </a:lnTo>
                <a:lnTo>
                  <a:pt x="1079614" y="696846"/>
                </a:lnTo>
                <a:lnTo>
                  <a:pt x="1032534" y="711602"/>
                </a:lnTo>
                <a:lnTo>
                  <a:pt x="899449" y="762071"/>
                </a:lnTo>
                <a:lnTo>
                  <a:pt x="853556" y="776540"/>
                </a:lnTo>
                <a:lnTo>
                  <a:pt x="806859" y="785576"/>
                </a:lnTo>
                <a:lnTo>
                  <a:pt x="759806" y="789245"/>
                </a:lnTo>
                <a:lnTo>
                  <a:pt x="1457127" y="789245"/>
                </a:lnTo>
                <a:lnTo>
                  <a:pt x="1403233" y="748198"/>
                </a:lnTo>
                <a:lnTo>
                  <a:pt x="1360964" y="725010"/>
                </a:lnTo>
                <a:lnTo>
                  <a:pt x="1316582" y="706935"/>
                </a:lnTo>
                <a:lnTo>
                  <a:pt x="1270563" y="694076"/>
                </a:lnTo>
                <a:lnTo>
                  <a:pt x="1223382" y="686535"/>
                </a:lnTo>
                <a:lnTo>
                  <a:pt x="1175513" y="68441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914400"/>
            <a:endParaRPr sz="1092">
              <a:solidFill>
                <a:prstClr val="black"/>
              </a:solidFill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969678" y="1696197"/>
            <a:ext cx="6933862" cy="18973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 defTabSz="914400">
              <a:lnSpc>
                <a:spcPct val="112400"/>
              </a:lnSpc>
            </a:pPr>
            <a:r>
              <a:rPr lang="ru-RU" sz="1001" spc="-6" dirty="0">
                <a:solidFill>
                  <a:srgbClr val="4E4E4E"/>
                </a:solidFill>
                <a:latin typeface="Roboto Light"/>
                <a:cs typeface="Roboto Light"/>
              </a:rPr>
              <a:t>В первую очередь </a:t>
            </a:r>
            <a:r>
              <a:rPr lang="ru-RU" sz="1001" b="1" spc="-6" dirty="0">
                <a:solidFill>
                  <a:srgbClr val="FF0000"/>
                </a:solidFill>
                <a:latin typeface="Roboto Light"/>
                <a:cs typeface="Roboto Light"/>
              </a:rPr>
              <a:t>сердечно-сосудистые заболевания, а так же сахарный диабет, дислипидемия, остеопороз, ожирение</a:t>
            </a:r>
            <a:r>
              <a:rPr lang="ru-RU" sz="1001" spc="-6" dirty="0">
                <a:solidFill>
                  <a:srgbClr val="4E4E4E"/>
                </a:solidFill>
                <a:latin typeface="Roboto Light"/>
                <a:cs typeface="Roboto Light"/>
              </a:rPr>
              <a:t> – это лишь некоторые из основных проблем со здоровьем, связанных с питанием</a:t>
            </a:r>
          </a:p>
          <a:p>
            <a:pPr marL="7701" marR="3081" defTabSz="914400">
              <a:lnSpc>
                <a:spcPct val="112400"/>
              </a:lnSpc>
            </a:pPr>
            <a:endParaRPr lang="ru-RU" sz="1001" spc="-6" dirty="0">
              <a:solidFill>
                <a:srgbClr val="4E4E4E"/>
              </a:solidFill>
              <a:latin typeface="Roboto Light"/>
              <a:cs typeface="Roboto Light"/>
            </a:endParaRPr>
          </a:p>
          <a:p>
            <a:pPr marL="7701" marR="3081" defTabSz="914400">
              <a:lnSpc>
                <a:spcPct val="112400"/>
              </a:lnSpc>
            </a:pPr>
            <a:r>
              <a:rPr lang="ru-RU" sz="1001" spc="-6" dirty="0">
                <a:solidFill>
                  <a:srgbClr val="4E4E4E"/>
                </a:solidFill>
                <a:latin typeface="Roboto Light"/>
                <a:cs typeface="Roboto Light"/>
              </a:rPr>
              <a:t>Профилактика заболеваний, связанных с питанием, и сокращение периодов нетрудоспособности являются основными задачами здравоохранения в 21 веке.</a:t>
            </a:r>
          </a:p>
          <a:p>
            <a:pPr marL="7701" marR="3081" defTabSz="914400">
              <a:lnSpc>
                <a:spcPct val="112400"/>
              </a:lnSpc>
            </a:pPr>
            <a:endParaRPr lang="ru-RU" sz="1001" spc="-6" dirty="0">
              <a:solidFill>
                <a:srgbClr val="4E4E4E"/>
              </a:solidFill>
              <a:latin typeface="Roboto Light"/>
              <a:cs typeface="Roboto Light"/>
            </a:endParaRPr>
          </a:p>
          <a:p>
            <a:pPr marL="7701" marR="3081" defTabSz="914400">
              <a:lnSpc>
                <a:spcPct val="112400"/>
              </a:lnSpc>
            </a:pPr>
            <a:r>
              <a:rPr lang="ru-RU" sz="1001" spc="-6" dirty="0">
                <a:solidFill>
                  <a:srgbClr val="4E4E4E"/>
                </a:solidFill>
                <a:latin typeface="Roboto Light"/>
                <a:cs typeface="Roboto Light"/>
              </a:rPr>
              <a:t>Решение этих задач производит огромный экономический эффект. По данным Федерации независимых профсоюзов России из-за болезней </a:t>
            </a:r>
            <a:r>
              <a:rPr lang="ru-RU" sz="1001" b="1" spc="-6" dirty="0">
                <a:solidFill>
                  <a:srgbClr val="FF0000"/>
                </a:solidFill>
                <a:latin typeface="Roboto Light"/>
                <a:cs typeface="Roboto Light"/>
              </a:rPr>
              <a:t>ежегодно теряется до 10 рабочих дней на одного занятого на производстве</a:t>
            </a:r>
            <a:r>
              <a:rPr lang="ru-RU" sz="1001" spc="-6" dirty="0">
                <a:solidFill>
                  <a:srgbClr val="4E4E4E"/>
                </a:solidFill>
                <a:latin typeface="Roboto Light"/>
                <a:cs typeface="Roboto Light"/>
              </a:rPr>
              <a:t>. </a:t>
            </a:r>
          </a:p>
          <a:p>
            <a:pPr marL="7701" marR="3081" defTabSz="914400">
              <a:lnSpc>
                <a:spcPct val="112400"/>
              </a:lnSpc>
            </a:pPr>
            <a:r>
              <a:rPr lang="ru-RU" sz="1001" b="1" spc="-6" dirty="0">
                <a:solidFill>
                  <a:srgbClr val="FF0000"/>
                </a:solidFill>
                <a:latin typeface="Roboto Light"/>
                <a:cs typeface="Roboto Light"/>
              </a:rPr>
              <a:t>Это снижает объем ВВП РФ на 1.4%.</a:t>
            </a:r>
          </a:p>
          <a:p>
            <a:pPr marL="7701" marR="3081" defTabSz="914400">
              <a:lnSpc>
                <a:spcPct val="112400"/>
              </a:lnSpc>
            </a:pPr>
            <a:endParaRPr lang="ru-RU" sz="1001" spc="-6" dirty="0">
              <a:solidFill>
                <a:srgbClr val="4E4E4E"/>
              </a:solidFill>
              <a:latin typeface="Roboto Light"/>
              <a:cs typeface="Roboto Light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07711" y="1652877"/>
            <a:ext cx="4418647" cy="540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1455" spc="-3" dirty="0">
                <a:solidFill>
                  <a:srgbClr val="4E4E4E"/>
                </a:solidFill>
                <a:latin typeface="Roboto Light"/>
                <a:cs typeface="Roboto Light"/>
              </a:rPr>
              <a:t>Пищевой фактор является основным риском развития инвалидности в России*</a:t>
            </a:r>
          </a:p>
        </p:txBody>
      </p:sp>
      <p:sp>
        <p:nvSpPr>
          <p:cNvPr id="33" name="object 11"/>
          <p:cNvSpPr txBox="1">
            <a:spLocks/>
          </p:cNvSpPr>
          <p:nvPr/>
        </p:nvSpPr>
        <p:spPr>
          <a:xfrm>
            <a:off x="895410" y="369304"/>
            <a:ext cx="7471207" cy="5366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914400">
              <a:defRPr/>
            </a:pPr>
            <a:r>
              <a:rPr lang="ru-RU" sz="3487" kern="0" spc="6" dirty="0">
                <a:solidFill>
                  <a:prstClr val="white"/>
                </a:solidFill>
                <a:latin typeface="Open Sans Light"/>
                <a:cs typeface="Open Sans Light"/>
              </a:rPr>
              <a:t>Значение фактора питания </a:t>
            </a:r>
            <a:endParaRPr lang="ru-RU" sz="3487" kern="0" dirty="0">
              <a:solidFill>
                <a:prstClr val="white"/>
              </a:solidFill>
              <a:latin typeface="Open Sans Light"/>
              <a:cs typeface="Open Sans Light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244153" y="5668288"/>
            <a:ext cx="2503699" cy="2230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ru-RU" sz="849" i="1" spc="-3" dirty="0">
                <a:solidFill>
                  <a:srgbClr val="4E4E4E"/>
                </a:solidFill>
                <a:latin typeface="Roboto Light"/>
                <a:cs typeface="Roboto Light"/>
              </a:rPr>
              <a:t>*</a:t>
            </a:r>
            <a:r>
              <a:rPr lang="en-US" sz="849" i="1" spc="-3" dirty="0" err="1">
                <a:solidFill>
                  <a:srgbClr val="4E4E4E"/>
                </a:solidFill>
                <a:latin typeface="Roboto Light"/>
                <a:cs typeface="Roboto Light"/>
              </a:rPr>
              <a:t>Источник</a:t>
            </a:r>
            <a:r>
              <a:rPr lang="en-US" sz="849" i="1" spc="-3" dirty="0">
                <a:solidFill>
                  <a:srgbClr val="4E4E4E"/>
                </a:solidFill>
                <a:latin typeface="Roboto Light"/>
                <a:cs typeface="Roboto Light"/>
              </a:rPr>
              <a:t>: GBD Country Report Russia (201</a:t>
            </a:r>
            <a:r>
              <a:rPr lang="ru-RU" sz="849" i="1" spc="-3" dirty="0">
                <a:solidFill>
                  <a:srgbClr val="4E4E4E"/>
                </a:solidFill>
                <a:latin typeface="Roboto Light"/>
                <a:cs typeface="Roboto Light"/>
              </a:rPr>
              <a:t>6</a:t>
            </a:r>
            <a:r>
              <a:rPr lang="en-US" sz="849" i="1" spc="-3" dirty="0">
                <a:solidFill>
                  <a:srgbClr val="4E4E4E"/>
                </a:solidFill>
                <a:latin typeface="Roboto Light"/>
                <a:cs typeface="Roboto Light"/>
              </a:rPr>
              <a:t>)</a:t>
            </a:r>
            <a:endParaRPr lang="en-US" sz="849" i="1" dirty="0">
              <a:solidFill>
                <a:prstClr val="black"/>
              </a:solidFill>
            </a:endParaRPr>
          </a:p>
        </p:txBody>
      </p:sp>
      <p:pic>
        <p:nvPicPr>
          <p:cNvPr id="1027" name="Picture 3" descr="C:\Users\Sapient\Downloads\screenshot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51032" y="2302678"/>
            <a:ext cx="3937915" cy="3162365"/>
          </a:xfrm>
          <a:prstGeom prst="rect">
            <a:avLst/>
          </a:prstGeom>
          <a:noFill/>
        </p:spPr>
      </p:pic>
      <p:pic>
        <p:nvPicPr>
          <p:cNvPr id="1028" name="Picture 4" descr="C:\Users\Sapient\Downloads\screenshot1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969678" y="3775561"/>
            <a:ext cx="3552204" cy="2060032"/>
          </a:xfrm>
          <a:prstGeom prst="rect">
            <a:avLst/>
          </a:prstGeom>
          <a:noFill/>
        </p:spPr>
      </p:pic>
      <p:sp>
        <p:nvSpPr>
          <p:cNvPr id="28" name="object 23"/>
          <p:cNvSpPr txBox="1"/>
          <p:nvPr/>
        </p:nvSpPr>
        <p:spPr>
          <a:xfrm>
            <a:off x="8825164" y="4512001"/>
            <a:ext cx="2859124" cy="15523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 defTabSz="914400">
              <a:lnSpc>
                <a:spcPct val="112400"/>
              </a:lnSpc>
            </a:pPr>
            <a:r>
              <a:rPr lang="ru-RU" sz="1001" spc="-6" dirty="0">
                <a:solidFill>
                  <a:srgbClr val="4E4E4E"/>
                </a:solidFill>
                <a:latin typeface="Roboto Light"/>
                <a:cs typeface="Roboto Light"/>
              </a:rPr>
              <a:t>Более </a:t>
            </a:r>
            <a:r>
              <a:rPr lang="ru-RU" sz="1001" b="1" spc="-6" dirty="0">
                <a:solidFill>
                  <a:srgbClr val="FF0000"/>
                </a:solidFill>
                <a:latin typeface="Roboto Light"/>
                <a:cs typeface="Roboto Light"/>
              </a:rPr>
              <a:t>18% всего населения России </a:t>
            </a:r>
            <a:r>
              <a:rPr lang="ru-RU" sz="1001" spc="-6" dirty="0">
                <a:solidFill>
                  <a:srgbClr val="4E4E4E"/>
                </a:solidFill>
                <a:latin typeface="Roboto Light"/>
                <a:cs typeface="Roboto Light"/>
              </a:rPr>
              <a:t>имеет тяжелые потенциально </a:t>
            </a:r>
            <a:r>
              <a:rPr lang="ru-RU" sz="1001" spc="-6" dirty="0" err="1">
                <a:solidFill>
                  <a:srgbClr val="4E4E4E"/>
                </a:solidFill>
                <a:latin typeface="Roboto Light"/>
                <a:cs typeface="Roboto Light"/>
              </a:rPr>
              <a:t>инвалидизирующие</a:t>
            </a:r>
            <a:r>
              <a:rPr lang="ru-RU" sz="1001" spc="-6" dirty="0">
                <a:solidFill>
                  <a:srgbClr val="4E4E4E"/>
                </a:solidFill>
                <a:latin typeface="Roboto Light"/>
                <a:cs typeface="Roboto Light"/>
              </a:rPr>
              <a:t> заболевания или риск их развития связанных с нарушением питания. </a:t>
            </a:r>
          </a:p>
          <a:p>
            <a:pPr marL="7701" marR="3081" defTabSz="914400">
              <a:lnSpc>
                <a:spcPct val="112400"/>
              </a:lnSpc>
            </a:pPr>
            <a:r>
              <a:rPr lang="ru-RU" sz="1001" spc="-6" dirty="0">
                <a:solidFill>
                  <a:srgbClr val="4E4E4E"/>
                </a:solidFill>
                <a:latin typeface="Roboto Light"/>
                <a:cs typeface="Roboto Light"/>
              </a:rPr>
              <a:t>Этот процент существенно выше развитых западных стран, где уже принят широкий набор мероприятия по снижению рисков развития алиментарно-зависимых заболеваний.</a:t>
            </a:r>
          </a:p>
          <a:p>
            <a:pPr marL="7701" marR="3081" defTabSz="914400">
              <a:lnSpc>
                <a:spcPct val="112400"/>
              </a:lnSpc>
            </a:pPr>
            <a:endParaRPr lang="ru-RU" sz="1001" spc="-6" dirty="0">
              <a:solidFill>
                <a:srgbClr val="4E4E4E"/>
              </a:solidFill>
              <a:latin typeface="Roboto Light"/>
              <a:cs typeface="Roboto Ligh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781844" y="3569317"/>
            <a:ext cx="2772484" cy="7645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1092" spc="-3" dirty="0">
                <a:solidFill>
                  <a:srgbClr val="4E4E4E"/>
                </a:solidFill>
                <a:latin typeface="Roboto Light"/>
                <a:cs typeface="Roboto Light"/>
              </a:rPr>
              <a:t>Россия имеет огромный потенциал к снижению рисков развития заболеваемости и инвалидности по алиментарно-зависимым причинам*</a:t>
            </a:r>
          </a:p>
        </p:txBody>
      </p:sp>
      <p:sp>
        <p:nvSpPr>
          <p:cNvPr id="24" name="object 17"/>
          <p:cNvSpPr/>
          <p:nvPr/>
        </p:nvSpPr>
        <p:spPr>
          <a:xfrm>
            <a:off x="10462571" y="368999"/>
            <a:ext cx="654986" cy="65688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/>
            <a:endParaRPr sz="1092">
              <a:solidFill>
                <a:prstClr val="white"/>
              </a:solidFill>
            </a:endParaRPr>
          </a:p>
        </p:txBody>
      </p:sp>
      <p:pic>
        <p:nvPicPr>
          <p:cNvPr id="25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9327263" y="383414"/>
            <a:ext cx="710106" cy="604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63061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14"/>
          <p:cNvSpPr/>
          <p:nvPr/>
        </p:nvSpPr>
        <p:spPr>
          <a:xfrm>
            <a:off x="-17200" y="1900700"/>
            <a:ext cx="12191144" cy="4852552"/>
          </a:xfrm>
          <a:custGeom>
            <a:avLst/>
            <a:gdLst/>
            <a:ahLst/>
            <a:cxnLst/>
            <a:rect l="l" t="t" r="r" b="b"/>
            <a:pathLst>
              <a:path w="20104100" h="7797165">
                <a:moveTo>
                  <a:pt x="954315" y="2686253"/>
                </a:moveTo>
                <a:lnTo>
                  <a:pt x="908917" y="2689632"/>
                </a:lnTo>
                <a:lnTo>
                  <a:pt x="864039" y="2697941"/>
                </a:lnTo>
                <a:lnTo>
                  <a:pt x="820101" y="2711173"/>
                </a:lnTo>
                <a:lnTo>
                  <a:pt x="777521" y="2729321"/>
                </a:lnTo>
                <a:lnTo>
                  <a:pt x="736721" y="2752376"/>
                </a:lnTo>
                <a:lnTo>
                  <a:pt x="0" y="3224613"/>
                </a:lnTo>
                <a:lnTo>
                  <a:pt x="0" y="7796935"/>
                </a:lnTo>
                <a:lnTo>
                  <a:pt x="20104099" y="7796935"/>
                </a:lnTo>
                <a:lnTo>
                  <a:pt x="20104099" y="3413772"/>
                </a:lnTo>
                <a:lnTo>
                  <a:pt x="2443551" y="3413772"/>
                </a:lnTo>
                <a:lnTo>
                  <a:pt x="2397402" y="3412446"/>
                </a:lnTo>
                <a:lnTo>
                  <a:pt x="2351615" y="3406047"/>
                </a:lnTo>
                <a:lnTo>
                  <a:pt x="2306623" y="3394588"/>
                </a:lnTo>
                <a:lnTo>
                  <a:pt x="2262863" y="3378083"/>
                </a:lnTo>
                <a:lnTo>
                  <a:pt x="2220770" y="3356547"/>
                </a:lnTo>
                <a:lnTo>
                  <a:pt x="1174414" y="2743581"/>
                </a:lnTo>
                <a:lnTo>
                  <a:pt x="1132711" y="2722194"/>
                </a:lnTo>
                <a:lnTo>
                  <a:pt x="1089431" y="2705775"/>
                </a:lnTo>
                <a:lnTo>
                  <a:pt x="1044991" y="2694317"/>
                </a:lnTo>
                <a:lnTo>
                  <a:pt x="999813" y="2687812"/>
                </a:lnTo>
                <a:lnTo>
                  <a:pt x="954315" y="2686253"/>
                </a:lnTo>
                <a:close/>
              </a:path>
              <a:path w="20104100" h="7797165">
                <a:moveTo>
                  <a:pt x="3414144" y="3016375"/>
                </a:moveTo>
                <a:lnTo>
                  <a:pt x="3364400" y="3019070"/>
                </a:lnTo>
                <a:lnTo>
                  <a:pt x="3315318" y="3027664"/>
                </a:lnTo>
                <a:lnTo>
                  <a:pt x="3267430" y="3042098"/>
                </a:lnTo>
                <a:lnTo>
                  <a:pt x="3221263" y="3062315"/>
                </a:lnTo>
                <a:lnTo>
                  <a:pt x="2623061" y="3368064"/>
                </a:lnTo>
                <a:lnTo>
                  <a:pt x="2579816" y="3387170"/>
                </a:lnTo>
                <a:lnTo>
                  <a:pt x="2535193" y="3401148"/>
                </a:lnTo>
                <a:lnTo>
                  <a:pt x="2489626" y="3410010"/>
                </a:lnTo>
                <a:lnTo>
                  <a:pt x="2443551" y="3413772"/>
                </a:lnTo>
                <a:lnTo>
                  <a:pt x="20104099" y="3413772"/>
                </a:lnTo>
                <a:lnTo>
                  <a:pt x="20104099" y="3206399"/>
                </a:lnTo>
                <a:lnTo>
                  <a:pt x="4266141" y="3206399"/>
                </a:lnTo>
                <a:lnTo>
                  <a:pt x="4219944" y="3202808"/>
                </a:lnTo>
                <a:lnTo>
                  <a:pt x="4174009" y="3194038"/>
                </a:lnTo>
                <a:lnTo>
                  <a:pt x="3513505" y="3028913"/>
                </a:lnTo>
                <a:lnTo>
                  <a:pt x="3464022" y="3019636"/>
                </a:lnTo>
                <a:lnTo>
                  <a:pt x="3414144" y="3016375"/>
                </a:lnTo>
                <a:close/>
              </a:path>
              <a:path w="20104100" h="7797165">
                <a:moveTo>
                  <a:pt x="8469156" y="308253"/>
                </a:moveTo>
                <a:lnTo>
                  <a:pt x="8421796" y="308962"/>
                </a:lnTo>
                <a:lnTo>
                  <a:pt x="8374954" y="314990"/>
                </a:lnTo>
                <a:lnTo>
                  <a:pt x="8329084" y="326250"/>
                </a:lnTo>
                <a:lnTo>
                  <a:pt x="8284639" y="342656"/>
                </a:lnTo>
                <a:lnTo>
                  <a:pt x="8242075" y="364122"/>
                </a:lnTo>
                <a:lnTo>
                  <a:pt x="8201844" y="390564"/>
                </a:lnTo>
                <a:lnTo>
                  <a:pt x="4525516" y="3123779"/>
                </a:lnTo>
                <a:lnTo>
                  <a:pt x="4486487" y="3149538"/>
                </a:lnTo>
                <a:lnTo>
                  <a:pt x="4445222" y="3170611"/>
                </a:lnTo>
                <a:lnTo>
                  <a:pt x="4402140" y="3186916"/>
                </a:lnTo>
                <a:lnTo>
                  <a:pt x="4357655" y="3198371"/>
                </a:lnTo>
                <a:lnTo>
                  <a:pt x="4312183" y="3204892"/>
                </a:lnTo>
                <a:lnTo>
                  <a:pt x="4266141" y="3206399"/>
                </a:lnTo>
                <a:lnTo>
                  <a:pt x="20104099" y="3206399"/>
                </a:lnTo>
                <a:lnTo>
                  <a:pt x="20104099" y="1478704"/>
                </a:lnTo>
                <a:lnTo>
                  <a:pt x="17457747" y="1478704"/>
                </a:lnTo>
                <a:lnTo>
                  <a:pt x="17412036" y="1477116"/>
                </a:lnTo>
                <a:lnTo>
                  <a:pt x="17366539" y="1470501"/>
                </a:lnTo>
                <a:lnTo>
                  <a:pt x="17349770" y="1466129"/>
                </a:lnTo>
                <a:lnTo>
                  <a:pt x="12732043" y="1466129"/>
                </a:lnTo>
                <a:lnTo>
                  <a:pt x="12681791" y="1461647"/>
                </a:lnTo>
                <a:lnTo>
                  <a:pt x="12632076" y="1451055"/>
                </a:lnTo>
                <a:lnTo>
                  <a:pt x="8563613" y="323131"/>
                </a:lnTo>
                <a:lnTo>
                  <a:pt x="8516580" y="312947"/>
                </a:lnTo>
                <a:lnTo>
                  <a:pt x="8469156" y="308253"/>
                </a:lnTo>
                <a:close/>
              </a:path>
              <a:path w="20104100" h="7797165">
                <a:moveTo>
                  <a:pt x="18928586" y="338037"/>
                </a:moveTo>
                <a:lnTo>
                  <a:pt x="18880717" y="340158"/>
                </a:lnTo>
                <a:lnTo>
                  <a:pt x="18833536" y="347698"/>
                </a:lnTo>
                <a:lnTo>
                  <a:pt x="18787517" y="360557"/>
                </a:lnTo>
                <a:lnTo>
                  <a:pt x="18743135" y="378632"/>
                </a:lnTo>
                <a:lnTo>
                  <a:pt x="18700866" y="401820"/>
                </a:lnTo>
                <a:lnTo>
                  <a:pt x="18661184" y="430019"/>
                </a:lnTo>
                <a:lnTo>
                  <a:pt x="18624563" y="463127"/>
                </a:lnTo>
                <a:lnTo>
                  <a:pt x="17748045" y="1353676"/>
                </a:lnTo>
                <a:lnTo>
                  <a:pt x="17712729" y="1385742"/>
                </a:lnTo>
                <a:lnTo>
                  <a:pt x="17674653" y="1413165"/>
                </a:lnTo>
                <a:lnTo>
                  <a:pt x="17634242" y="1435888"/>
                </a:lnTo>
                <a:lnTo>
                  <a:pt x="17591920" y="1453859"/>
                </a:lnTo>
                <a:lnTo>
                  <a:pt x="17548114" y="1467021"/>
                </a:lnTo>
                <a:lnTo>
                  <a:pt x="17503248" y="1475321"/>
                </a:lnTo>
                <a:lnTo>
                  <a:pt x="17457747" y="1478704"/>
                </a:lnTo>
                <a:lnTo>
                  <a:pt x="20104099" y="1478704"/>
                </a:lnTo>
                <a:lnTo>
                  <a:pt x="20104099" y="442868"/>
                </a:lnTo>
                <a:lnTo>
                  <a:pt x="19344285" y="442868"/>
                </a:lnTo>
                <a:lnTo>
                  <a:pt x="19297231" y="439198"/>
                </a:lnTo>
                <a:lnTo>
                  <a:pt x="19250532" y="430162"/>
                </a:lnTo>
                <a:lnTo>
                  <a:pt x="19204640" y="415694"/>
                </a:lnTo>
                <a:lnTo>
                  <a:pt x="19071565" y="365224"/>
                </a:lnTo>
                <a:lnTo>
                  <a:pt x="19024485" y="350468"/>
                </a:lnTo>
                <a:lnTo>
                  <a:pt x="18976667" y="341440"/>
                </a:lnTo>
                <a:lnTo>
                  <a:pt x="18928586" y="338037"/>
                </a:lnTo>
                <a:close/>
              </a:path>
              <a:path w="20104100" h="7797165">
                <a:moveTo>
                  <a:pt x="15295632" y="325461"/>
                </a:moveTo>
                <a:lnTo>
                  <a:pt x="15244316" y="326481"/>
                </a:lnTo>
                <a:lnTo>
                  <a:pt x="15193328" y="333798"/>
                </a:lnTo>
                <a:lnTo>
                  <a:pt x="15143263" y="347437"/>
                </a:lnTo>
                <a:lnTo>
                  <a:pt x="15094713" y="367423"/>
                </a:lnTo>
                <a:lnTo>
                  <a:pt x="12927564" y="1423935"/>
                </a:lnTo>
                <a:lnTo>
                  <a:pt x="12880593" y="1443403"/>
                </a:lnTo>
                <a:lnTo>
                  <a:pt x="12831987" y="1456957"/>
                </a:lnTo>
                <a:lnTo>
                  <a:pt x="12782290" y="1464549"/>
                </a:lnTo>
                <a:lnTo>
                  <a:pt x="12732043" y="1466129"/>
                </a:lnTo>
                <a:lnTo>
                  <a:pt x="17349770" y="1466129"/>
                </a:lnTo>
                <a:lnTo>
                  <a:pt x="17321683" y="1458806"/>
                </a:lnTo>
                <a:lnTo>
                  <a:pt x="17277891" y="1441976"/>
                </a:lnTo>
                <a:lnTo>
                  <a:pt x="17235590" y="1419956"/>
                </a:lnTo>
                <a:lnTo>
                  <a:pt x="15492303" y="383862"/>
                </a:lnTo>
                <a:lnTo>
                  <a:pt x="15445611" y="359939"/>
                </a:lnTo>
                <a:lnTo>
                  <a:pt x="15396873" y="342214"/>
                </a:lnTo>
                <a:lnTo>
                  <a:pt x="15346682" y="330713"/>
                </a:lnTo>
                <a:lnTo>
                  <a:pt x="15295632" y="325461"/>
                </a:lnTo>
                <a:close/>
              </a:path>
              <a:path w="20104100" h="7797165">
                <a:moveTo>
                  <a:pt x="20104099" y="0"/>
                </a:moveTo>
                <a:lnTo>
                  <a:pt x="20044637" y="26753"/>
                </a:lnTo>
                <a:lnTo>
                  <a:pt x="19987443" y="64186"/>
                </a:lnTo>
                <a:lnTo>
                  <a:pt x="19608827" y="355905"/>
                </a:lnTo>
                <a:lnTo>
                  <a:pt x="19569108" y="383041"/>
                </a:lnTo>
                <a:lnTo>
                  <a:pt x="19527040" y="405208"/>
                </a:lnTo>
                <a:lnTo>
                  <a:pt x="19483072" y="422341"/>
                </a:lnTo>
                <a:lnTo>
                  <a:pt x="19437657" y="434372"/>
                </a:lnTo>
                <a:lnTo>
                  <a:pt x="19391244" y="441237"/>
                </a:lnTo>
                <a:lnTo>
                  <a:pt x="19344285" y="442868"/>
                </a:lnTo>
                <a:lnTo>
                  <a:pt x="20104099" y="442868"/>
                </a:lnTo>
                <a:lnTo>
                  <a:pt x="20104099" y="0"/>
                </a:lnTo>
                <a:close/>
              </a:path>
            </a:pathLst>
          </a:custGeom>
          <a:solidFill>
            <a:srgbClr val="EDEFEF"/>
          </a:solidFill>
        </p:spPr>
        <p:txBody>
          <a:bodyPr wrap="square" lIns="0" tIns="0" rIns="0" bIns="0" rtlCol="0"/>
          <a:lstStyle/>
          <a:p>
            <a:endParaRPr lang="ru-RU" sz="1092" dirty="0">
              <a:solidFill>
                <a:prstClr val="black"/>
              </a:solidFill>
            </a:endParaRPr>
          </a:p>
        </p:txBody>
      </p:sp>
      <p:sp>
        <p:nvSpPr>
          <p:cNvPr id="44" name="object 15"/>
          <p:cNvSpPr/>
          <p:nvPr/>
        </p:nvSpPr>
        <p:spPr>
          <a:xfrm>
            <a:off x="856" y="4055263"/>
            <a:ext cx="12191144" cy="2766689"/>
          </a:xfrm>
          <a:custGeom>
            <a:avLst/>
            <a:gdLst/>
            <a:ahLst/>
            <a:cxnLst/>
            <a:rect l="l" t="t" r="r" b="b"/>
            <a:pathLst>
              <a:path w="20104100" h="4562475">
                <a:moveTo>
                  <a:pt x="0" y="346377"/>
                </a:moveTo>
                <a:lnTo>
                  <a:pt x="0" y="4562270"/>
                </a:lnTo>
                <a:lnTo>
                  <a:pt x="20104099" y="4562270"/>
                </a:lnTo>
                <a:lnTo>
                  <a:pt x="20104099" y="3760149"/>
                </a:lnTo>
                <a:lnTo>
                  <a:pt x="17660548" y="3760149"/>
                </a:lnTo>
                <a:lnTo>
                  <a:pt x="17614473" y="3756388"/>
                </a:lnTo>
                <a:lnTo>
                  <a:pt x="17568906" y="3747525"/>
                </a:lnTo>
                <a:lnTo>
                  <a:pt x="17524283" y="3733548"/>
                </a:lnTo>
                <a:lnTo>
                  <a:pt x="17481038" y="3714442"/>
                </a:lnTo>
                <a:lnTo>
                  <a:pt x="17164733" y="3552777"/>
                </a:lnTo>
                <a:lnTo>
                  <a:pt x="15837958" y="3552777"/>
                </a:lnTo>
                <a:lnTo>
                  <a:pt x="15791916" y="3551270"/>
                </a:lnTo>
                <a:lnTo>
                  <a:pt x="15746444" y="3544748"/>
                </a:lnTo>
                <a:lnTo>
                  <a:pt x="15701959" y="3533294"/>
                </a:lnTo>
                <a:lnTo>
                  <a:pt x="15658876" y="3516989"/>
                </a:lnTo>
                <a:lnTo>
                  <a:pt x="15617612" y="3495916"/>
                </a:lnTo>
                <a:lnTo>
                  <a:pt x="15578583" y="3470157"/>
                </a:lnTo>
                <a:lnTo>
                  <a:pt x="11544574" y="1825082"/>
                </a:lnTo>
                <a:lnTo>
                  <a:pt x="2646350" y="1825082"/>
                </a:lnTo>
                <a:lnTo>
                  <a:pt x="2600850" y="1821699"/>
                </a:lnTo>
                <a:lnTo>
                  <a:pt x="2555984" y="1813399"/>
                </a:lnTo>
                <a:lnTo>
                  <a:pt x="2512178" y="1800236"/>
                </a:lnTo>
                <a:lnTo>
                  <a:pt x="2469857" y="1782266"/>
                </a:lnTo>
                <a:lnTo>
                  <a:pt x="2429446" y="1759543"/>
                </a:lnTo>
                <a:lnTo>
                  <a:pt x="2391370" y="1732120"/>
                </a:lnTo>
                <a:lnTo>
                  <a:pt x="2356053" y="1700053"/>
                </a:lnTo>
                <a:lnTo>
                  <a:pt x="1479536" y="809505"/>
                </a:lnTo>
                <a:lnTo>
                  <a:pt x="1457127" y="789245"/>
                </a:lnTo>
                <a:lnTo>
                  <a:pt x="759806" y="789245"/>
                </a:lnTo>
                <a:lnTo>
                  <a:pt x="712848" y="787615"/>
                </a:lnTo>
                <a:lnTo>
                  <a:pt x="666438" y="780750"/>
                </a:lnTo>
                <a:lnTo>
                  <a:pt x="621024" y="768719"/>
                </a:lnTo>
                <a:lnTo>
                  <a:pt x="577058" y="751586"/>
                </a:lnTo>
                <a:lnTo>
                  <a:pt x="534990" y="729418"/>
                </a:lnTo>
                <a:lnTo>
                  <a:pt x="495272" y="702283"/>
                </a:lnTo>
                <a:lnTo>
                  <a:pt x="116645" y="410564"/>
                </a:lnTo>
                <a:lnTo>
                  <a:pt x="98097" y="397017"/>
                </a:lnTo>
                <a:lnTo>
                  <a:pt x="60058" y="373458"/>
                </a:lnTo>
                <a:lnTo>
                  <a:pt x="20392" y="354322"/>
                </a:lnTo>
                <a:lnTo>
                  <a:pt x="10205" y="350207"/>
                </a:lnTo>
                <a:lnTo>
                  <a:pt x="0" y="346377"/>
                </a:lnTo>
                <a:close/>
              </a:path>
              <a:path w="20104100" h="4562475">
                <a:moveTo>
                  <a:pt x="19149784" y="3032631"/>
                </a:moveTo>
                <a:lnTo>
                  <a:pt x="19104286" y="3034190"/>
                </a:lnTo>
                <a:lnTo>
                  <a:pt x="19059108" y="3040695"/>
                </a:lnTo>
                <a:lnTo>
                  <a:pt x="19014668" y="3052153"/>
                </a:lnTo>
                <a:lnTo>
                  <a:pt x="18971388" y="3068572"/>
                </a:lnTo>
                <a:lnTo>
                  <a:pt x="18929685" y="3089959"/>
                </a:lnTo>
                <a:lnTo>
                  <a:pt x="17883329" y="3702924"/>
                </a:lnTo>
                <a:lnTo>
                  <a:pt x="17841236" y="3724461"/>
                </a:lnTo>
                <a:lnTo>
                  <a:pt x="17797476" y="3740966"/>
                </a:lnTo>
                <a:lnTo>
                  <a:pt x="17752484" y="3752424"/>
                </a:lnTo>
                <a:lnTo>
                  <a:pt x="17706697" y="3758824"/>
                </a:lnTo>
                <a:lnTo>
                  <a:pt x="17660548" y="3760149"/>
                </a:lnTo>
                <a:lnTo>
                  <a:pt x="20104099" y="3760149"/>
                </a:lnTo>
                <a:lnTo>
                  <a:pt x="20104099" y="3570991"/>
                </a:lnTo>
                <a:lnTo>
                  <a:pt x="19367378" y="3098754"/>
                </a:lnTo>
                <a:lnTo>
                  <a:pt x="19326578" y="3075699"/>
                </a:lnTo>
                <a:lnTo>
                  <a:pt x="19283998" y="3057551"/>
                </a:lnTo>
                <a:lnTo>
                  <a:pt x="19240060" y="3044319"/>
                </a:lnTo>
                <a:lnTo>
                  <a:pt x="19195182" y="3036009"/>
                </a:lnTo>
                <a:lnTo>
                  <a:pt x="19149784" y="3032631"/>
                </a:lnTo>
                <a:close/>
              </a:path>
              <a:path w="20104100" h="4562475">
                <a:moveTo>
                  <a:pt x="16689954" y="3362752"/>
                </a:moveTo>
                <a:lnTo>
                  <a:pt x="16640076" y="3366014"/>
                </a:lnTo>
                <a:lnTo>
                  <a:pt x="16590594" y="3375290"/>
                </a:lnTo>
                <a:lnTo>
                  <a:pt x="15930090" y="3540416"/>
                </a:lnTo>
                <a:lnTo>
                  <a:pt x="15884155" y="3549186"/>
                </a:lnTo>
                <a:lnTo>
                  <a:pt x="15837958" y="3552777"/>
                </a:lnTo>
                <a:lnTo>
                  <a:pt x="17164733" y="3552777"/>
                </a:lnTo>
                <a:lnTo>
                  <a:pt x="16882826" y="3408692"/>
                </a:lnTo>
                <a:lnTo>
                  <a:pt x="16836663" y="3388476"/>
                </a:lnTo>
                <a:lnTo>
                  <a:pt x="16788777" y="3374042"/>
                </a:lnTo>
                <a:lnTo>
                  <a:pt x="16739698" y="3365448"/>
                </a:lnTo>
                <a:lnTo>
                  <a:pt x="16689954" y="3362752"/>
                </a:lnTo>
                <a:close/>
              </a:path>
              <a:path w="20104100" h="4562475">
                <a:moveTo>
                  <a:pt x="6924101" y="0"/>
                </a:moveTo>
                <a:lnTo>
                  <a:pt x="6877231" y="417"/>
                </a:lnTo>
                <a:lnTo>
                  <a:pt x="6830421" y="3195"/>
                </a:lnTo>
                <a:lnTo>
                  <a:pt x="6783646" y="8363"/>
                </a:lnTo>
                <a:lnTo>
                  <a:pt x="6736883" y="15950"/>
                </a:lnTo>
                <a:lnTo>
                  <a:pt x="6690109" y="25985"/>
                </a:lnTo>
                <a:lnTo>
                  <a:pt x="6643298" y="38498"/>
                </a:lnTo>
                <a:lnTo>
                  <a:pt x="6596429" y="53519"/>
                </a:lnTo>
                <a:lnTo>
                  <a:pt x="6549477" y="71077"/>
                </a:lnTo>
                <a:lnTo>
                  <a:pt x="6502419" y="91202"/>
                </a:lnTo>
                <a:lnTo>
                  <a:pt x="2868499" y="1766334"/>
                </a:lnTo>
                <a:lnTo>
                  <a:pt x="2826199" y="1788354"/>
                </a:lnTo>
                <a:lnTo>
                  <a:pt x="2782410" y="1805184"/>
                </a:lnTo>
                <a:lnTo>
                  <a:pt x="2737555" y="1816879"/>
                </a:lnTo>
                <a:lnTo>
                  <a:pt x="2692060" y="1823493"/>
                </a:lnTo>
                <a:lnTo>
                  <a:pt x="2646350" y="1825082"/>
                </a:lnTo>
                <a:lnTo>
                  <a:pt x="11544574" y="1825082"/>
                </a:lnTo>
                <a:lnTo>
                  <a:pt x="7549508" y="195911"/>
                </a:lnTo>
                <a:lnTo>
                  <a:pt x="7499724" y="168332"/>
                </a:lnTo>
                <a:lnTo>
                  <a:pt x="7450306" y="142730"/>
                </a:lnTo>
                <a:lnTo>
                  <a:pt x="7401230" y="119134"/>
                </a:lnTo>
                <a:lnTo>
                  <a:pt x="7352473" y="97574"/>
                </a:lnTo>
                <a:lnTo>
                  <a:pt x="7304010" y="78079"/>
                </a:lnTo>
                <a:lnTo>
                  <a:pt x="7255820" y="60678"/>
                </a:lnTo>
                <a:lnTo>
                  <a:pt x="7207877" y="45402"/>
                </a:lnTo>
                <a:lnTo>
                  <a:pt x="7160158" y="32279"/>
                </a:lnTo>
                <a:lnTo>
                  <a:pt x="7112639" y="21339"/>
                </a:lnTo>
                <a:lnTo>
                  <a:pt x="7065298" y="12611"/>
                </a:lnTo>
                <a:lnTo>
                  <a:pt x="7018110" y="6126"/>
                </a:lnTo>
                <a:lnTo>
                  <a:pt x="6971052" y="1912"/>
                </a:lnTo>
                <a:lnTo>
                  <a:pt x="6924101" y="0"/>
                </a:lnTo>
                <a:close/>
              </a:path>
              <a:path w="20104100" h="4562475">
                <a:moveTo>
                  <a:pt x="1175513" y="684415"/>
                </a:moveTo>
                <a:lnTo>
                  <a:pt x="1127432" y="687818"/>
                </a:lnTo>
                <a:lnTo>
                  <a:pt x="1079614" y="696846"/>
                </a:lnTo>
                <a:lnTo>
                  <a:pt x="1032534" y="711602"/>
                </a:lnTo>
                <a:lnTo>
                  <a:pt x="899449" y="762071"/>
                </a:lnTo>
                <a:lnTo>
                  <a:pt x="853556" y="776540"/>
                </a:lnTo>
                <a:lnTo>
                  <a:pt x="806859" y="785576"/>
                </a:lnTo>
                <a:lnTo>
                  <a:pt x="759806" y="789245"/>
                </a:lnTo>
                <a:lnTo>
                  <a:pt x="1457127" y="789245"/>
                </a:lnTo>
                <a:lnTo>
                  <a:pt x="1403233" y="748198"/>
                </a:lnTo>
                <a:lnTo>
                  <a:pt x="1360964" y="725010"/>
                </a:lnTo>
                <a:lnTo>
                  <a:pt x="1316582" y="706935"/>
                </a:lnTo>
                <a:lnTo>
                  <a:pt x="1270563" y="694076"/>
                </a:lnTo>
                <a:lnTo>
                  <a:pt x="1223382" y="686535"/>
                </a:lnTo>
                <a:lnTo>
                  <a:pt x="1175513" y="68441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 dirty="0">
              <a:solidFill>
                <a:prstClr val="black"/>
              </a:solidFill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151340" y="231459"/>
            <a:ext cx="9117169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/>
            <a:r>
              <a:rPr lang="ru-RU" sz="3200" spc="6" dirty="0" smtClean="0"/>
              <a:t>Медицинское обеспечение </a:t>
            </a:r>
            <a:br>
              <a:rPr lang="ru-RU" sz="3200" spc="6" dirty="0" smtClean="0"/>
            </a:br>
            <a:r>
              <a:rPr lang="ru-RU" sz="3200" spc="6" dirty="0" smtClean="0"/>
              <a:t>производственного процесса</a:t>
            </a:r>
            <a:endParaRPr sz="3200" dirty="0"/>
          </a:p>
        </p:txBody>
      </p:sp>
      <p:sp>
        <p:nvSpPr>
          <p:cNvPr id="12" name="object 12"/>
          <p:cNvSpPr/>
          <p:nvPr/>
        </p:nvSpPr>
        <p:spPr>
          <a:xfrm>
            <a:off x="10381129" y="650214"/>
            <a:ext cx="119370" cy="164423"/>
          </a:xfrm>
          <a:custGeom>
            <a:avLst/>
            <a:gdLst/>
            <a:ahLst/>
            <a:cxnLst/>
            <a:rect l="l" t="t" r="r" b="b"/>
            <a:pathLst>
              <a:path w="196850" h="271144">
                <a:moveTo>
                  <a:pt x="41810" y="0"/>
                </a:moveTo>
                <a:lnTo>
                  <a:pt x="4251" y="0"/>
                </a:lnTo>
                <a:lnTo>
                  <a:pt x="0" y="4251"/>
                </a:lnTo>
                <a:lnTo>
                  <a:pt x="0" y="266777"/>
                </a:lnTo>
                <a:lnTo>
                  <a:pt x="4251" y="271038"/>
                </a:lnTo>
                <a:lnTo>
                  <a:pt x="35632" y="271038"/>
                </a:lnTo>
                <a:lnTo>
                  <a:pt x="40271" y="266777"/>
                </a:lnTo>
                <a:lnTo>
                  <a:pt x="39883" y="261353"/>
                </a:lnTo>
                <a:lnTo>
                  <a:pt x="39108" y="67369"/>
                </a:lnTo>
                <a:lnTo>
                  <a:pt x="82623" y="67369"/>
                </a:lnTo>
                <a:lnTo>
                  <a:pt x="50344" y="8512"/>
                </a:lnTo>
                <a:lnTo>
                  <a:pt x="47632" y="3486"/>
                </a:lnTo>
                <a:lnTo>
                  <a:pt x="41810" y="0"/>
                </a:lnTo>
                <a:close/>
              </a:path>
              <a:path w="196850" h="271144">
                <a:moveTo>
                  <a:pt x="82623" y="67369"/>
                </a:moveTo>
                <a:lnTo>
                  <a:pt x="39108" y="67369"/>
                </a:lnTo>
                <a:lnTo>
                  <a:pt x="145597" y="262526"/>
                </a:lnTo>
                <a:lnTo>
                  <a:pt x="148299" y="267552"/>
                </a:lnTo>
                <a:lnTo>
                  <a:pt x="154110" y="271038"/>
                </a:lnTo>
                <a:lnTo>
                  <a:pt x="192444" y="271038"/>
                </a:lnTo>
                <a:lnTo>
                  <a:pt x="196695" y="266777"/>
                </a:lnTo>
                <a:lnTo>
                  <a:pt x="196695" y="204056"/>
                </a:lnTo>
                <a:lnTo>
                  <a:pt x="157586" y="204056"/>
                </a:lnTo>
                <a:lnTo>
                  <a:pt x="82623" y="67369"/>
                </a:lnTo>
                <a:close/>
              </a:path>
              <a:path w="196850" h="271144">
                <a:moveTo>
                  <a:pt x="192444" y="0"/>
                </a:moveTo>
                <a:lnTo>
                  <a:pt x="161073" y="0"/>
                </a:lnTo>
                <a:lnTo>
                  <a:pt x="156822" y="4251"/>
                </a:lnTo>
                <a:lnTo>
                  <a:pt x="156822" y="9675"/>
                </a:lnTo>
                <a:lnTo>
                  <a:pt x="157586" y="204056"/>
                </a:lnTo>
                <a:lnTo>
                  <a:pt x="196695" y="204056"/>
                </a:lnTo>
                <a:lnTo>
                  <a:pt x="196695" y="4251"/>
                </a:lnTo>
                <a:lnTo>
                  <a:pt x="19244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0538446" y="683083"/>
            <a:ext cx="98577" cy="134002"/>
          </a:xfrm>
          <a:custGeom>
            <a:avLst/>
            <a:gdLst/>
            <a:ahLst/>
            <a:cxnLst/>
            <a:rect l="l" t="t" r="r" b="b"/>
            <a:pathLst>
              <a:path w="162559" h="220980">
                <a:moveTo>
                  <a:pt x="34082" y="0"/>
                </a:moveTo>
                <a:lnTo>
                  <a:pt x="4272" y="0"/>
                </a:lnTo>
                <a:lnTo>
                  <a:pt x="0" y="4261"/>
                </a:lnTo>
                <a:lnTo>
                  <a:pt x="0" y="147524"/>
                </a:lnTo>
                <a:lnTo>
                  <a:pt x="3448" y="179212"/>
                </a:lnTo>
                <a:lnTo>
                  <a:pt x="14811" y="202118"/>
                </a:lnTo>
                <a:lnTo>
                  <a:pt x="35613" y="216022"/>
                </a:lnTo>
                <a:lnTo>
                  <a:pt x="67380" y="220705"/>
                </a:lnTo>
                <a:lnTo>
                  <a:pt x="83700" y="218828"/>
                </a:lnTo>
                <a:lnTo>
                  <a:pt x="99226" y="213539"/>
                </a:lnTo>
                <a:lnTo>
                  <a:pt x="113446" y="205346"/>
                </a:lnTo>
                <a:lnTo>
                  <a:pt x="125849" y="194758"/>
                </a:lnTo>
                <a:lnTo>
                  <a:pt x="162246" y="194758"/>
                </a:lnTo>
                <a:lnTo>
                  <a:pt x="162246" y="187795"/>
                </a:lnTo>
                <a:lnTo>
                  <a:pt x="74730" y="187795"/>
                </a:lnTo>
                <a:lnTo>
                  <a:pt x="56636" y="185126"/>
                </a:lnTo>
                <a:lnTo>
                  <a:pt x="45507" y="176901"/>
                </a:lnTo>
                <a:lnTo>
                  <a:pt x="39893" y="162797"/>
                </a:lnTo>
                <a:lnTo>
                  <a:pt x="38344" y="142487"/>
                </a:lnTo>
                <a:lnTo>
                  <a:pt x="38344" y="4261"/>
                </a:lnTo>
                <a:lnTo>
                  <a:pt x="34082" y="0"/>
                </a:lnTo>
                <a:close/>
              </a:path>
              <a:path w="162559" h="220980">
                <a:moveTo>
                  <a:pt x="162246" y="194758"/>
                </a:moveTo>
                <a:lnTo>
                  <a:pt x="125849" y="194758"/>
                </a:lnTo>
                <a:lnTo>
                  <a:pt x="127001" y="207155"/>
                </a:lnTo>
                <a:lnTo>
                  <a:pt x="127388" y="212579"/>
                </a:lnTo>
                <a:lnTo>
                  <a:pt x="132435" y="216831"/>
                </a:lnTo>
                <a:lnTo>
                  <a:pt x="157974" y="216831"/>
                </a:lnTo>
                <a:lnTo>
                  <a:pt x="162246" y="212579"/>
                </a:lnTo>
                <a:lnTo>
                  <a:pt x="162246" y="194758"/>
                </a:lnTo>
                <a:close/>
              </a:path>
              <a:path w="162559" h="220980">
                <a:moveTo>
                  <a:pt x="157974" y="0"/>
                </a:moveTo>
                <a:lnTo>
                  <a:pt x="128174" y="0"/>
                </a:lnTo>
                <a:lnTo>
                  <a:pt x="123901" y="4261"/>
                </a:lnTo>
                <a:lnTo>
                  <a:pt x="123901" y="161461"/>
                </a:lnTo>
                <a:lnTo>
                  <a:pt x="114207" y="171291"/>
                </a:lnTo>
                <a:lnTo>
                  <a:pt x="102371" y="179709"/>
                </a:lnTo>
                <a:lnTo>
                  <a:pt x="89007" y="185585"/>
                </a:lnTo>
                <a:lnTo>
                  <a:pt x="74730" y="187795"/>
                </a:lnTo>
                <a:lnTo>
                  <a:pt x="162246" y="187795"/>
                </a:lnTo>
                <a:lnTo>
                  <a:pt x="162246" y="4261"/>
                </a:lnTo>
                <a:lnTo>
                  <a:pt x="15797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0661021" y="650211"/>
            <a:ext cx="79323" cy="167503"/>
          </a:xfrm>
          <a:custGeom>
            <a:avLst/>
            <a:gdLst/>
            <a:ahLst/>
            <a:cxnLst/>
            <a:rect l="l" t="t" r="r" b="b"/>
            <a:pathLst>
              <a:path w="130809" h="276225">
                <a:moveTo>
                  <a:pt x="61568" y="85191"/>
                </a:moveTo>
                <a:lnTo>
                  <a:pt x="23234" y="85191"/>
                </a:lnTo>
                <a:lnTo>
                  <a:pt x="23234" y="201732"/>
                </a:lnTo>
                <a:lnTo>
                  <a:pt x="27875" y="234419"/>
                </a:lnTo>
                <a:lnTo>
                  <a:pt x="41773" y="257633"/>
                </a:lnTo>
                <a:lnTo>
                  <a:pt x="64891" y="271482"/>
                </a:lnTo>
                <a:lnTo>
                  <a:pt x="97190" y="276075"/>
                </a:lnTo>
                <a:lnTo>
                  <a:pt x="104153" y="276075"/>
                </a:lnTo>
                <a:lnTo>
                  <a:pt x="112677" y="274913"/>
                </a:lnTo>
                <a:lnTo>
                  <a:pt x="120425" y="273363"/>
                </a:lnTo>
                <a:lnTo>
                  <a:pt x="125839" y="272588"/>
                </a:lnTo>
                <a:lnTo>
                  <a:pt x="130488" y="267164"/>
                </a:lnTo>
                <a:lnTo>
                  <a:pt x="130488" y="245102"/>
                </a:lnTo>
                <a:lnTo>
                  <a:pt x="129422" y="244327"/>
                </a:lnTo>
                <a:lnTo>
                  <a:pt x="101054" y="244327"/>
                </a:lnTo>
                <a:lnTo>
                  <a:pt x="83452" y="241611"/>
                </a:lnTo>
                <a:lnTo>
                  <a:pt x="71149" y="233341"/>
                </a:lnTo>
                <a:lnTo>
                  <a:pt x="63927" y="219333"/>
                </a:lnTo>
                <a:lnTo>
                  <a:pt x="61568" y="199407"/>
                </a:lnTo>
                <a:lnTo>
                  <a:pt x="61568" y="85191"/>
                </a:lnTo>
                <a:close/>
              </a:path>
              <a:path w="130809" h="276225">
                <a:moveTo>
                  <a:pt x="126226" y="242003"/>
                </a:moveTo>
                <a:lnTo>
                  <a:pt x="121200" y="242777"/>
                </a:lnTo>
                <a:lnTo>
                  <a:pt x="114226" y="243940"/>
                </a:lnTo>
                <a:lnTo>
                  <a:pt x="107253" y="244327"/>
                </a:lnTo>
                <a:lnTo>
                  <a:pt x="129422" y="244327"/>
                </a:lnTo>
                <a:lnTo>
                  <a:pt x="126226" y="242003"/>
                </a:lnTo>
                <a:close/>
              </a:path>
              <a:path w="130809" h="276225">
                <a:moveTo>
                  <a:pt x="119650" y="54218"/>
                </a:moveTo>
                <a:lnTo>
                  <a:pt x="4649" y="54218"/>
                </a:lnTo>
                <a:lnTo>
                  <a:pt x="0" y="58469"/>
                </a:lnTo>
                <a:lnTo>
                  <a:pt x="0" y="80929"/>
                </a:lnTo>
                <a:lnTo>
                  <a:pt x="4649" y="85191"/>
                </a:lnTo>
                <a:lnTo>
                  <a:pt x="119650" y="85191"/>
                </a:lnTo>
                <a:lnTo>
                  <a:pt x="124289" y="80929"/>
                </a:lnTo>
                <a:lnTo>
                  <a:pt x="124289" y="58469"/>
                </a:lnTo>
                <a:lnTo>
                  <a:pt x="119650" y="54218"/>
                </a:lnTo>
                <a:close/>
              </a:path>
              <a:path w="130809" h="276225">
                <a:moveTo>
                  <a:pt x="57307" y="0"/>
                </a:moveTo>
                <a:lnTo>
                  <a:pt x="32522" y="0"/>
                </a:lnTo>
                <a:lnTo>
                  <a:pt x="27883" y="4261"/>
                </a:lnTo>
                <a:lnTo>
                  <a:pt x="27496" y="9685"/>
                </a:lnTo>
                <a:lnTo>
                  <a:pt x="24009" y="54218"/>
                </a:lnTo>
                <a:lnTo>
                  <a:pt x="61568" y="54218"/>
                </a:lnTo>
                <a:lnTo>
                  <a:pt x="61568" y="4261"/>
                </a:lnTo>
                <a:lnTo>
                  <a:pt x="5730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10769509" y="680972"/>
            <a:ext cx="58530" cy="133617"/>
          </a:xfrm>
          <a:custGeom>
            <a:avLst/>
            <a:gdLst/>
            <a:ahLst/>
            <a:cxnLst/>
            <a:rect l="l" t="t" r="r" b="b"/>
            <a:pathLst>
              <a:path w="96519" h="220344">
                <a:moveTo>
                  <a:pt x="29025" y="3486"/>
                </a:moveTo>
                <a:lnTo>
                  <a:pt x="4251" y="3486"/>
                </a:lnTo>
                <a:lnTo>
                  <a:pt x="0" y="7748"/>
                </a:lnTo>
                <a:lnTo>
                  <a:pt x="0" y="216056"/>
                </a:lnTo>
                <a:lnTo>
                  <a:pt x="4251" y="220317"/>
                </a:lnTo>
                <a:lnTo>
                  <a:pt x="34072" y="220317"/>
                </a:lnTo>
                <a:lnTo>
                  <a:pt x="38323" y="216056"/>
                </a:lnTo>
                <a:lnTo>
                  <a:pt x="38323" y="63495"/>
                </a:lnTo>
                <a:lnTo>
                  <a:pt x="48078" y="51384"/>
                </a:lnTo>
                <a:lnTo>
                  <a:pt x="60588" y="42104"/>
                </a:lnTo>
                <a:lnTo>
                  <a:pt x="74259" y="36164"/>
                </a:lnTo>
                <a:lnTo>
                  <a:pt x="87494" y="34072"/>
                </a:lnTo>
                <a:lnTo>
                  <a:pt x="92531" y="34072"/>
                </a:lnTo>
                <a:lnTo>
                  <a:pt x="96018" y="30972"/>
                </a:lnTo>
                <a:lnTo>
                  <a:pt x="96018" y="29810"/>
                </a:lnTo>
                <a:lnTo>
                  <a:pt x="36386" y="29810"/>
                </a:lnTo>
                <a:lnTo>
                  <a:pt x="34836" y="13161"/>
                </a:lnTo>
                <a:lnTo>
                  <a:pt x="34072" y="7748"/>
                </a:lnTo>
                <a:lnTo>
                  <a:pt x="29025" y="3486"/>
                </a:lnTo>
                <a:close/>
              </a:path>
              <a:path w="96519" h="220344">
                <a:moveTo>
                  <a:pt x="92531" y="0"/>
                </a:moveTo>
                <a:lnTo>
                  <a:pt x="87107" y="0"/>
                </a:lnTo>
                <a:lnTo>
                  <a:pt x="74663" y="2153"/>
                </a:lnTo>
                <a:lnTo>
                  <a:pt x="60439" y="8226"/>
                </a:lnTo>
                <a:lnTo>
                  <a:pt x="46869" y="17638"/>
                </a:lnTo>
                <a:lnTo>
                  <a:pt x="36386" y="29810"/>
                </a:lnTo>
                <a:lnTo>
                  <a:pt x="96018" y="29810"/>
                </a:lnTo>
                <a:lnTo>
                  <a:pt x="96018" y="3099"/>
                </a:lnTo>
                <a:lnTo>
                  <a:pt x="9253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10853097" y="638476"/>
            <a:ext cx="28495" cy="176360"/>
          </a:xfrm>
          <a:custGeom>
            <a:avLst/>
            <a:gdLst/>
            <a:ahLst/>
            <a:cxnLst/>
            <a:rect l="l" t="t" r="r" b="b"/>
            <a:pathLst>
              <a:path w="46990" h="290830">
                <a:moveTo>
                  <a:pt x="22847" y="0"/>
                </a:moveTo>
                <a:lnTo>
                  <a:pt x="13557" y="1348"/>
                </a:lnTo>
                <a:lnTo>
                  <a:pt x="6338" y="5562"/>
                </a:lnTo>
                <a:lnTo>
                  <a:pt x="1663" y="12898"/>
                </a:lnTo>
                <a:lnTo>
                  <a:pt x="0" y="23611"/>
                </a:lnTo>
                <a:lnTo>
                  <a:pt x="1663" y="33818"/>
                </a:lnTo>
                <a:lnTo>
                  <a:pt x="6338" y="40794"/>
                </a:lnTo>
                <a:lnTo>
                  <a:pt x="13557" y="44794"/>
                </a:lnTo>
                <a:lnTo>
                  <a:pt x="22847" y="46071"/>
                </a:lnTo>
                <a:lnTo>
                  <a:pt x="32640" y="44794"/>
                </a:lnTo>
                <a:lnTo>
                  <a:pt x="40218" y="40794"/>
                </a:lnTo>
                <a:lnTo>
                  <a:pt x="45111" y="33818"/>
                </a:lnTo>
                <a:lnTo>
                  <a:pt x="46846" y="23611"/>
                </a:lnTo>
                <a:lnTo>
                  <a:pt x="45111" y="12898"/>
                </a:lnTo>
                <a:lnTo>
                  <a:pt x="40218" y="5562"/>
                </a:lnTo>
                <a:lnTo>
                  <a:pt x="32640" y="1348"/>
                </a:lnTo>
                <a:lnTo>
                  <a:pt x="22847" y="0"/>
                </a:lnTo>
                <a:close/>
              </a:path>
              <a:path w="46990" h="290830">
                <a:moveTo>
                  <a:pt x="38721" y="73568"/>
                </a:moveTo>
                <a:lnTo>
                  <a:pt x="8910" y="73568"/>
                </a:lnTo>
                <a:lnTo>
                  <a:pt x="4649" y="77819"/>
                </a:lnTo>
                <a:lnTo>
                  <a:pt x="4649" y="286137"/>
                </a:lnTo>
                <a:lnTo>
                  <a:pt x="8910" y="290399"/>
                </a:lnTo>
                <a:lnTo>
                  <a:pt x="38721" y="290399"/>
                </a:lnTo>
                <a:lnTo>
                  <a:pt x="42982" y="286137"/>
                </a:lnTo>
                <a:lnTo>
                  <a:pt x="42982" y="77819"/>
                </a:lnTo>
                <a:lnTo>
                  <a:pt x="38721" y="7356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10918848" y="638473"/>
            <a:ext cx="23489" cy="176360"/>
          </a:xfrm>
          <a:custGeom>
            <a:avLst/>
            <a:gdLst/>
            <a:ahLst/>
            <a:cxnLst/>
            <a:rect l="l" t="t" r="r" b="b"/>
            <a:pathLst>
              <a:path w="38734" h="290830">
                <a:moveTo>
                  <a:pt x="34072" y="0"/>
                </a:moveTo>
                <a:lnTo>
                  <a:pt x="4261" y="0"/>
                </a:lnTo>
                <a:lnTo>
                  <a:pt x="0" y="4251"/>
                </a:lnTo>
                <a:lnTo>
                  <a:pt x="0" y="286137"/>
                </a:lnTo>
                <a:lnTo>
                  <a:pt x="4261" y="290399"/>
                </a:lnTo>
                <a:lnTo>
                  <a:pt x="34072" y="290399"/>
                </a:lnTo>
                <a:lnTo>
                  <a:pt x="38333" y="286137"/>
                </a:lnTo>
                <a:lnTo>
                  <a:pt x="38333" y="4251"/>
                </a:lnTo>
                <a:lnTo>
                  <a:pt x="3407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10977080" y="680740"/>
            <a:ext cx="102427" cy="136313"/>
          </a:xfrm>
          <a:custGeom>
            <a:avLst/>
            <a:gdLst/>
            <a:ahLst/>
            <a:cxnLst/>
            <a:rect l="l" t="t" r="r" b="b"/>
            <a:pathLst>
              <a:path w="168909" h="224790">
                <a:moveTo>
                  <a:pt x="84416" y="0"/>
                </a:moveTo>
                <a:lnTo>
                  <a:pt x="49333" y="5498"/>
                </a:lnTo>
                <a:lnTo>
                  <a:pt x="22747" y="21342"/>
                </a:lnTo>
                <a:lnTo>
                  <a:pt x="5892" y="46550"/>
                </a:lnTo>
                <a:lnTo>
                  <a:pt x="0" y="80144"/>
                </a:lnTo>
                <a:lnTo>
                  <a:pt x="0" y="144424"/>
                </a:lnTo>
                <a:lnTo>
                  <a:pt x="5892" y="178018"/>
                </a:lnTo>
                <a:lnTo>
                  <a:pt x="22747" y="203226"/>
                </a:lnTo>
                <a:lnTo>
                  <a:pt x="49333" y="219070"/>
                </a:lnTo>
                <a:lnTo>
                  <a:pt x="84416" y="224569"/>
                </a:lnTo>
                <a:lnTo>
                  <a:pt x="119651" y="219070"/>
                </a:lnTo>
                <a:lnTo>
                  <a:pt x="146216" y="203226"/>
                </a:lnTo>
                <a:lnTo>
                  <a:pt x="153395" y="192433"/>
                </a:lnTo>
                <a:lnTo>
                  <a:pt x="84416" y="192433"/>
                </a:lnTo>
                <a:lnTo>
                  <a:pt x="64798" y="189051"/>
                </a:lnTo>
                <a:lnTo>
                  <a:pt x="50337" y="179027"/>
                </a:lnTo>
                <a:lnTo>
                  <a:pt x="41395" y="162541"/>
                </a:lnTo>
                <a:lnTo>
                  <a:pt x="38333" y="139775"/>
                </a:lnTo>
                <a:lnTo>
                  <a:pt x="38333" y="84793"/>
                </a:lnTo>
                <a:lnTo>
                  <a:pt x="41395" y="62023"/>
                </a:lnTo>
                <a:lnTo>
                  <a:pt x="50337" y="45537"/>
                </a:lnTo>
                <a:lnTo>
                  <a:pt x="64798" y="35515"/>
                </a:lnTo>
                <a:lnTo>
                  <a:pt x="84416" y="32135"/>
                </a:lnTo>
                <a:lnTo>
                  <a:pt x="153395" y="32135"/>
                </a:lnTo>
                <a:lnTo>
                  <a:pt x="146216" y="21342"/>
                </a:lnTo>
                <a:lnTo>
                  <a:pt x="119651" y="5498"/>
                </a:lnTo>
                <a:lnTo>
                  <a:pt x="84416" y="0"/>
                </a:lnTo>
                <a:close/>
              </a:path>
              <a:path w="168909" h="224790">
                <a:moveTo>
                  <a:pt x="153395" y="32135"/>
                </a:moveTo>
                <a:lnTo>
                  <a:pt x="84416" y="32135"/>
                </a:lnTo>
                <a:lnTo>
                  <a:pt x="104189" y="35515"/>
                </a:lnTo>
                <a:lnTo>
                  <a:pt x="118625" y="45537"/>
                </a:lnTo>
                <a:lnTo>
                  <a:pt x="127472" y="62023"/>
                </a:lnTo>
                <a:lnTo>
                  <a:pt x="130477" y="84793"/>
                </a:lnTo>
                <a:lnTo>
                  <a:pt x="130477" y="139775"/>
                </a:lnTo>
                <a:lnTo>
                  <a:pt x="127472" y="162541"/>
                </a:lnTo>
                <a:lnTo>
                  <a:pt x="118625" y="179027"/>
                </a:lnTo>
                <a:lnTo>
                  <a:pt x="104189" y="189051"/>
                </a:lnTo>
                <a:lnTo>
                  <a:pt x="84416" y="192433"/>
                </a:lnTo>
                <a:lnTo>
                  <a:pt x="153395" y="192433"/>
                </a:lnTo>
                <a:lnTo>
                  <a:pt x="162982" y="178018"/>
                </a:lnTo>
                <a:lnTo>
                  <a:pt x="168822" y="144424"/>
                </a:lnTo>
                <a:lnTo>
                  <a:pt x="168822" y="80144"/>
                </a:lnTo>
                <a:lnTo>
                  <a:pt x="162982" y="46550"/>
                </a:lnTo>
                <a:lnTo>
                  <a:pt x="153395" y="321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11104808" y="665477"/>
            <a:ext cx="100502" cy="186756"/>
          </a:xfrm>
          <a:custGeom>
            <a:avLst/>
            <a:gdLst/>
            <a:ahLst/>
            <a:cxnLst/>
            <a:rect l="l" t="t" r="r" b="b"/>
            <a:pathLst>
              <a:path w="165734" h="307975">
                <a:moveTo>
                  <a:pt x="23213" y="260756"/>
                </a:moveTo>
                <a:lnTo>
                  <a:pt x="17245" y="261562"/>
                </a:lnTo>
                <a:lnTo>
                  <a:pt x="2240" y="281279"/>
                </a:lnTo>
                <a:lnTo>
                  <a:pt x="2806" y="287551"/>
                </a:lnTo>
                <a:lnTo>
                  <a:pt x="6889" y="291142"/>
                </a:lnTo>
                <a:lnTo>
                  <a:pt x="9905" y="293844"/>
                </a:lnTo>
                <a:lnTo>
                  <a:pt x="20173" y="299951"/>
                </a:lnTo>
                <a:lnTo>
                  <a:pt x="32277" y="304320"/>
                </a:lnTo>
                <a:lnTo>
                  <a:pt x="46111" y="306946"/>
                </a:lnTo>
                <a:lnTo>
                  <a:pt x="61568" y="307823"/>
                </a:lnTo>
                <a:lnTo>
                  <a:pt x="93316" y="307823"/>
                </a:lnTo>
                <a:lnTo>
                  <a:pt x="123356" y="304053"/>
                </a:lnTo>
                <a:lnTo>
                  <a:pt x="146025" y="292769"/>
                </a:lnTo>
                <a:lnTo>
                  <a:pt x="157288" y="278012"/>
                </a:lnTo>
                <a:lnTo>
                  <a:pt x="65055" y="278012"/>
                </a:lnTo>
                <a:lnTo>
                  <a:pt x="54091" y="277275"/>
                </a:lnTo>
                <a:lnTo>
                  <a:pt x="45138" y="274882"/>
                </a:lnTo>
                <a:lnTo>
                  <a:pt x="36765" y="270560"/>
                </a:lnTo>
                <a:lnTo>
                  <a:pt x="27538" y="264033"/>
                </a:lnTo>
                <a:lnTo>
                  <a:pt x="23213" y="260756"/>
                </a:lnTo>
                <a:close/>
              </a:path>
              <a:path w="165734" h="307975">
                <a:moveTo>
                  <a:pt x="73568" y="25172"/>
                </a:moveTo>
                <a:lnTo>
                  <a:pt x="43122" y="29914"/>
                </a:lnTo>
                <a:lnTo>
                  <a:pt x="19939" y="42786"/>
                </a:lnTo>
                <a:lnTo>
                  <a:pt x="5178" y="61756"/>
                </a:lnTo>
                <a:lnTo>
                  <a:pt x="0" y="84793"/>
                </a:lnTo>
                <a:lnTo>
                  <a:pt x="0" y="109577"/>
                </a:lnTo>
                <a:lnTo>
                  <a:pt x="1542" y="121271"/>
                </a:lnTo>
                <a:lnTo>
                  <a:pt x="5951" y="132566"/>
                </a:lnTo>
                <a:lnTo>
                  <a:pt x="12903" y="142628"/>
                </a:lnTo>
                <a:lnTo>
                  <a:pt x="22072" y="150623"/>
                </a:lnTo>
                <a:lnTo>
                  <a:pt x="18228" y="156864"/>
                </a:lnTo>
                <a:lnTo>
                  <a:pt x="15438" y="163398"/>
                </a:lnTo>
                <a:lnTo>
                  <a:pt x="13736" y="170222"/>
                </a:lnTo>
                <a:lnTo>
                  <a:pt x="13161" y="177334"/>
                </a:lnTo>
                <a:lnTo>
                  <a:pt x="13161" y="185083"/>
                </a:lnTo>
                <a:lnTo>
                  <a:pt x="38562" y="216429"/>
                </a:lnTo>
                <a:lnTo>
                  <a:pt x="65055" y="220317"/>
                </a:lnTo>
                <a:lnTo>
                  <a:pt x="89442" y="220317"/>
                </a:lnTo>
                <a:lnTo>
                  <a:pt x="106093" y="221908"/>
                </a:lnTo>
                <a:lnTo>
                  <a:pt x="117806" y="226945"/>
                </a:lnTo>
                <a:lnTo>
                  <a:pt x="124727" y="235831"/>
                </a:lnTo>
                <a:lnTo>
                  <a:pt x="127001" y="248966"/>
                </a:lnTo>
                <a:lnTo>
                  <a:pt x="124727" y="262162"/>
                </a:lnTo>
                <a:lnTo>
                  <a:pt x="117806" y="271185"/>
                </a:lnTo>
                <a:lnTo>
                  <a:pt x="106093" y="276360"/>
                </a:lnTo>
                <a:lnTo>
                  <a:pt x="89442" y="278012"/>
                </a:lnTo>
                <a:lnTo>
                  <a:pt x="157288" y="278012"/>
                </a:lnTo>
                <a:lnTo>
                  <a:pt x="160344" y="274007"/>
                </a:lnTo>
                <a:lnTo>
                  <a:pt x="165335" y="247803"/>
                </a:lnTo>
                <a:lnTo>
                  <a:pt x="160555" y="223452"/>
                </a:lnTo>
                <a:lnTo>
                  <a:pt x="146845" y="205743"/>
                </a:lnTo>
                <a:lnTo>
                  <a:pt x="125150" y="194932"/>
                </a:lnTo>
                <a:lnTo>
                  <a:pt x="102498" y="192046"/>
                </a:lnTo>
                <a:lnTo>
                  <a:pt x="53432" y="192046"/>
                </a:lnTo>
                <a:lnTo>
                  <a:pt x="50333" y="188172"/>
                </a:lnTo>
                <a:lnTo>
                  <a:pt x="48019" y="183146"/>
                </a:lnTo>
                <a:lnTo>
                  <a:pt x="48019" y="171523"/>
                </a:lnTo>
                <a:lnTo>
                  <a:pt x="50333" y="166884"/>
                </a:lnTo>
                <a:lnTo>
                  <a:pt x="53820" y="163785"/>
                </a:lnTo>
                <a:lnTo>
                  <a:pt x="90273" y="163785"/>
                </a:lnTo>
                <a:lnTo>
                  <a:pt x="105376" y="161469"/>
                </a:lnTo>
                <a:lnTo>
                  <a:pt x="128157" y="149022"/>
                </a:lnTo>
                <a:lnTo>
                  <a:pt x="137987" y="136676"/>
                </a:lnTo>
                <a:lnTo>
                  <a:pt x="73568" y="136676"/>
                </a:lnTo>
                <a:lnTo>
                  <a:pt x="58630" y="134383"/>
                </a:lnTo>
                <a:lnTo>
                  <a:pt x="47286" y="127917"/>
                </a:lnTo>
                <a:lnTo>
                  <a:pt x="40081" y="117893"/>
                </a:lnTo>
                <a:lnTo>
                  <a:pt x="37559" y="104928"/>
                </a:lnTo>
                <a:lnTo>
                  <a:pt x="37559" y="87117"/>
                </a:lnTo>
                <a:lnTo>
                  <a:pt x="40081" y="74213"/>
                </a:lnTo>
                <a:lnTo>
                  <a:pt x="47288" y="64321"/>
                </a:lnTo>
                <a:lnTo>
                  <a:pt x="58630" y="57989"/>
                </a:lnTo>
                <a:lnTo>
                  <a:pt x="73568" y="55757"/>
                </a:lnTo>
                <a:lnTo>
                  <a:pt x="143748" y="55757"/>
                </a:lnTo>
                <a:lnTo>
                  <a:pt x="150352" y="50274"/>
                </a:lnTo>
                <a:lnTo>
                  <a:pt x="157830" y="40654"/>
                </a:lnTo>
                <a:lnTo>
                  <a:pt x="159634" y="36396"/>
                </a:lnTo>
                <a:lnTo>
                  <a:pt x="118101" y="36396"/>
                </a:lnTo>
                <a:lnTo>
                  <a:pt x="109016" y="31864"/>
                </a:lnTo>
                <a:lnTo>
                  <a:pt x="98300" y="28314"/>
                </a:lnTo>
                <a:lnTo>
                  <a:pt x="86351" y="25999"/>
                </a:lnTo>
                <a:lnTo>
                  <a:pt x="73568" y="25172"/>
                </a:lnTo>
                <a:close/>
              </a:path>
              <a:path w="165734" h="307975">
                <a:moveTo>
                  <a:pt x="96415" y="191271"/>
                </a:moveTo>
                <a:lnTo>
                  <a:pt x="61956" y="191271"/>
                </a:lnTo>
                <a:lnTo>
                  <a:pt x="57307" y="191659"/>
                </a:lnTo>
                <a:lnTo>
                  <a:pt x="53432" y="192046"/>
                </a:lnTo>
                <a:lnTo>
                  <a:pt x="102498" y="192046"/>
                </a:lnTo>
                <a:lnTo>
                  <a:pt x="96415" y="191271"/>
                </a:lnTo>
                <a:close/>
              </a:path>
              <a:path w="165734" h="307975">
                <a:moveTo>
                  <a:pt x="90273" y="163785"/>
                </a:moveTo>
                <a:lnTo>
                  <a:pt x="53820" y="163785"/>
                </a:lnTo>
                <a:lnTo>
                  <a:pt x="60019" y="165335"/>
                </a:lnTo>
                <a:lnTo>
                  <a:pt x="67757" y="166110"/>
                </a:lnTo>
                <a:lnTo>
                  <a:pt x="75118" y="166110"/>
                </a:lnTo>
                <a:lnTo>
                  <a:pt x="90273" y="163785"/>
                </a:lnTo>
                <a:close/>
              </a:path>
              <a:path w="165734" h="307975">
                <a:moveTo>
                  <a:pt x="143748" y="55757"/>
                </a:moveTo>
                <a:lnTo>
                  <a:pt x="73568" y="55757"/>
                </a:lnTo>
                <a:lnTo>
                  <a:pt x="88730" y="57989"/>
                </a:lnTo>
                <a:lnTo>
                  <a:pt x="100189" y="64322"/>
                </a:lnTo>
                <a:lnTo>
                  <a:pt x="107436" y="74213"/>
                </a:lnTo>
                <a:lnTo>
                  <a:pt x="109965" y="87117"/>
                </a:lnTo>
                <a:lnTo>
                  <a:pt x="109965" y="104928"/>
                </a:lnTo>
                <a:lnTo>
                  <a:pt x="107436" y="117893"/>
                </a:lnTo>
                <a:lnTo>
                  <a:pt x="100189" y="127917"/>
                </a:lnTo>
                <a:lnTo>
                  <a:pt x="88730" y="134383"/>
                </a:lnTo>
                <a:lnTo>
                  <a:pt x="73568" y="136676"/>
                </a:lnTo>
                <a:lnTo>
                  <a:pt x="137987" y="136676"/>
                </a:lnTo>
                <a:lnTo>
                  <a:pt x="142517" y="130987"/>
                </a:lnTo>
                <a:lnTo>
                  <a:pt x="147513" y="109577"/>
                </a:lnTo>
                <a:lnTo>
                  <a:pt x="147513" y="84793"/>
                </a:lnTo>
                <a:lnTo>
                  <a:pt x="147085" y="78111"/>
                </a:lnTo>
                <a:lnTo>
                  <a:pt x="145825" y="71143"/>
                </a:lnTo>
                <a:lnTo>
                  <a:pt x="143767" y="64321"/>
                </a:lnTo>
                <a:lnTo>
                  <a:pt x="140948" y="58082"/>
                </a:lnTo>
                <a:lnTo>
                  <a:pt x="143748" y="55757"/>
                </a:lnTo>
                <a:close/>
              </a:path>
              <a:path w="165734" h="307975">
                <a:moveTo>
                  <a:pt x="160298" y="0"/>
                </a:moveTo>
                <a:lnTo>
                  <a:pt x="132812" y="0"/>
                </a:lnTo>
                <a:lnTo>
                  <a:pt x="129713" y="2711"/>
                </a:lnTo>
                <a:lnTo>
                  <a:pt x="129713" y="10062"/>
                </a:lnTo>
                <a:lnTo>
                  <a:pt x="128987" y="18422"/>
                </a:lnTo>
                <a:lnTo>
                  <a:pt x="126808" y="25550"/>
                </a:lnTo>
                <a:lnTo>
                  <a:pt x="123179" y="31517"/>
                </a:lnTo>
                <a:lnTo>
                  <a:pt x="118101" y="36396"/>
                </a:lnTo>
                <a:lnTo>
                  <a:pt x="159634" y="36396"/>
                </a:lnTo>
                <a:lnTo>
                  <a:pt x="162767" y="29002"/>
                </a:lnTo>
                <a:lnTo>
                  <a:pt x="164549" y="15099"/>
                </a:lnTo>
                <a:lnTo>
                  <a:pt x="164549" y="13161"/>
                </a:lnTo>
                <a:lnTo>
                  <a:pt x="164173" y="8900"/>
                </a:lnTo>
                <a:lnTo>
                  <a:pt x="163785" y="7748"/>
                </a:lnTo>
                <a:lnTo>
                  <a:pt x="163398" y="3099"/>
                </a:lnTo>
                <a:lnTo>
                  <a:pt x="1602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11228551" y="638476"/>
            <a:ext cx="28495" cy="176360"/>
          </a:xfrm>
          <a:custGeom>
            <a:avLst/>
            <a:gdLst/>
            <a:ahLst/>
            <a:cxnLst/>
            <a:rect l="l" t="t" r="r" b="b"/>
            <a:pathLst>
              <a:path w="46990" h="290830">
                <a:moveTo>
                  <a:pt x="22847" y="0"/>
                </a:moveTo>
                <a:lnTo>
                  <a:pt x="13557" y="1348"/>
                </a:lnTo>
                <a:lnTo>
                  <a:pt x="6338" y="5562"/>
                </a:lnTo>
                <a:lnTo>
                  <a:pt x="1663" y="12898"/>
                </a:lnTo>
                <a:lnTo>
                  <a:pt x="0" y="23611"/>
                </a:lnTo>
                <a:lnTo>
                  <a:pt x="1663" y="33818"/>
                </a:lnTo>
                <a:lnTo>
                  <a:pt x="6338" y="40794"/>
                </a:lnTo>
                <a:lnTo>
                  <a:pt x="13557" y="44794"/>
                </a:lnTo>
                <a:lnTo>
                  <a:pt x="22847" y="46071"/>
                </a:lnTo>
                <a:lnTo>
                  <a:pt x="32640" y="44794"/>
                </a:lnTo>
                <a:lnTo>
                  <a:pt x="40218" y="40794"/>
                </a:lnTo>
                <a:lnTo>
                  <a:pt x="45111" y="33818"/>
                </a:lnTo>
                <a:lnTo>
                  <a:pt x="46846" y="23611"/>
                </a:lnTo>
                <a:lnTo>
                  <a:pt x="45111" y="12898"/>
                </a:lnTo>
                <a:lnTo>
                  <a:pt x="40218" y="5562"/>
                </a:lnTo>
                <a:lnTo>
                  <a:pt x="32640" y="1348"/>
                </a:lnTo>
                <a:lnTo>
                  <a:pt x="22847" y="0"/>
                </a:lnTo>
                <a:close/>
              </a:path>
              <a:path w="46990" h="290830">
                <a:moveTo>
                  <a:pt x="38721" y="73568"/>
                </a:moveTo>
                <a:lnTo>
                  <a:pt x="8910" y="73568"/>
                </a:lnTo>
                <a:lnTo>
                  <a:pt x="4649" y="77819"/>
                </a:lnTo>
                <a:lnTo>
                  <a:pt x="4649" y="286137"/>
                </a:lnTo>
                <a:lnTo>
                  <a:pt x="8910" y="290399"/>
                </a:lnTo>
                <a:lnTo>
                  <a:pt x="38721" y="290399"/>
                </a:lnTo>
                <a:lnTo>
                  <a:pt x="42982" y="286137"/>
                </a:lnTo>
                <a:lnTo>
                  <a:pt x="42982" y="77819"/>
                </a:lnTo>
                <a:lnTo>
                  <a:pt x="38721" y="7356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1291478" y="680740"/>
            <a:ext cx="102042" cy="136313"/>
          </a:xfrm>
          <a:custGeom>
            <a:avLst/>
            <a:gdLst/>
            <a:ahLst/>
            <a:cxnLst/>
            <a:rect l="l" t="t" r="r" b="b"/>
            <a:pathLst>
              <a:path w="168275" h="224790">
                <a:moveTo>
                  <a:pt x="84416" y="0"/>
                </a:moveTo>
                <a:lnTo>
                  <a:pt x="49337" y="5498"/>
                </a:lnTo>
                <a:lnTo>
                  <a:pt x="22751" y="21342"/>
                </a:lnTo>
                <a:lnTo>
                  <a:pt x="5893" y="46550"/>
                </a:lnTo>
                <a:lnTo>
                  <a:pt x="0" y="80144"/>
                </a:lnTo>
                <a:lnTo>
                  <a:pt x="0" y="144424"/>
                </a:lnTo>
                <a:lnTo>
                  <a:pt x="5893" y="178018"/>
                </a:lnTo>
                <a:lnTo>
                  <a:pt x="22751" y="203226"/>
                </a:lnTo>
                <a:lnTo>
                  <a:pt x="49337" y="219070"/>
                </a:lnTo>
                <a:lnTo>
                  <a:pt x="84416" y="224569"/>
                </a:lnTo>
                <a:lnTo>
                  <a:pt x="120046" y="219070"/>
                </a:lnTo>
                <a:lnTo>
                  <a:pt x="146269" y="204194"/>
                </a:lnTo>
                <a:lnTo>
                  <a:pt x="155256" y="192046"/>
                </a:lnTo>
                <a:lnTo>
                  <a:pt x="84416" y="192046"/>
                </a:lnTo>
                <a:lnTo>
                  <a:pt x="64798" y="188725"/>
                </a:lnTo>
                <a:lnTo>
                  <a:pt x="50337" y="178833"/>
                </a:lnTo>
                <a:lnTo>
                  <a:pt x="41395" y="162480"/>
                </a:lnTo>
                <a:lnTo>
                  <a:pt x="38333" y="139775"/>
                </a:lnTo>
                <a:lnTo>
                  <a:pt x="38333" y="84793"/>
                </a:lnTo>
                <a:lnTo>
                  <a:pt x="41395" y="62083"/>
                </a:lnTo>
                <a:lnTo>
                  <a:pt x="50337" y="45731"/>
                </a:lnTo>
                <a:lnTo>
                  <a:pt x="64798" y="35842"/>
                </a:lnTo>
                <a:lnTo>
                  <a:pt x="84416" y="32522"/>
                </a:lnTo>
                <a:lnTo>
                  <a:pt x="155833" y="32522"/>
                </a:lnTo>
                <a:lnTo>
                  <a:pt x="146269" y="19648"/>
                </a:lnTo>
                <a:lnTo>
                  <a:pt x="120025" y="5214"/>
                </a:lnTo>
                <a:lnTo>
                  <a:pt x="84416" y="0"/>
                </a:lnTo>
                <a:close/>
              </a:path>
              <a:path w="168275" h="224790">
                <a:moveTo>
                  <a:pt x="163796" y="146351"/>
                </a:moveTo>
                <a:lnTo>
                  <a:pt x="133200" y="146351"/>
                </a:lnTo>
                <a:lnTo>
                  <a:pt x="129723" y="149838"/>
                </a:lnTo>
                <a:lnTo>
                  <a:pt x="129723" y="155649"/>
                </a:lnTo>
                <a:lnTo>
                  <a:pt x="127054" y="169667"/>
                </a:lnTo>
                <a:lnTo>
                  <a:pt x="118830" y="181253"/>
                </a:lnTo>
                <a:lnTo>
                  <a:pt x="104725" y="189136"/>
                </a:lnTo>
                <a:lnTo>
                  <a:pt x="84416" y="192046"/>
                </a:lnTo>
                <a:lnTo>
                  <a:pt x="155256" y="192046"/>
                </a:lnTo>
                <a:lnTo>
                  <a:pt x="162493" y="182263"/>
                </a:lnTo>
                <a:lnTo>
                  <a:pt x="168047" y="155649"/>
                </a:lnTo>
                <a:lnTo>
                  <a:pt x="168047" y="150225"/>
                </a:lnTo>
                <a:lnTo>
                  <a:pt x="163796" y="146351"/>
                </a:lnTo>
                <a:close/>
              </a:path>
              <a:path w="168275" h="224790">
                <a:moveTo>
                  <a:pt x="155833" y="32522"/>
                </a:moveTo>
                <a:lnTo>
                  <a:pt x="84416" y="32522"/>
                </a:lnTo>
                <a:lnTo>
                  <a:pt x="104235" y="35329"/>
                </a:lnTo>
                <a:lnTo>
                  <a:pt x="118394" y="43073"/>
                </a:lnTo>
                <a:lnTo>
                  <a:pt x="126891" y="54737"/>
                </a:lnTo>
                <a:lnTo>
                  <a:pt x="129648" y="68919"/>
                </a:lnTo>
                <a:lnTo>
                  <a:pt x="129723" y="74720"/>
                </a:lnTo>
                <a:lnTo>
                  <a:pt x="133200" y="78594"/>
                </a:lnTo>
                <a:lnTo>
                  <a:pt x="164173" y="78594"/>
                </a:lnTo>
                <a:lnTo>
                  <a:pt x="168047" y="74720"/>
                </a:lnTo>
                <a:lnTo>
                  <a:pt x="168047" y="68919"/>
                </a:lnTo>
                <a:lnTo>
                  <a:pt x="162493" y="41488"/>
                </a:lnTo>
                <a:lnTo>
                  <a:pt x="155833" y="325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9804140" y="510504"/>
            <a:ext cx="429738" cy="42973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>
              <a:solidFill>
                <a:prstClr val="black"/>
              </a:solidFill>
            </a:endParaRPr>
          </a:p>
        </p:txBody>
      </p:sp>
      <p:sp>
        <p:nvSpPr>
          <p:cNvPr id="40" name="Объект 2"/>
          <p:cNvSpPr>
            <a:spLocks noGrp="1"/>
          </p:cNvSpPr>
          <p:nvPr>
            <p:ph idx="4294967295"/>
          </p:nvPr>
        </p:nvSpPr>
        <p:spPr>
          <a:xfrm>
            <a:off x="6302189" y="2845733"/>
            <a:ext cx="5692586" cy="2981327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Ишемическая болезнь сердца, включая ОКС и И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Острые нарушения мозгового кровообраще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Артериальная гипертенз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Сахарный диабе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Ожирение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Язвенная болезнь желудка и 12-перстной кишк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err="1" smtClean="0"/>
              <a:t>Желчекаменная</a:t>
            </a:r>
            <a:r>
              <a:rPr lang="ru-RU" dirty="0" smtClean="0"/>
              <a:t> болезн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Мочекаменная болезнь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Функциональные заболевания толстой кишк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Подагра и другие</a:t>
            </a:r>
            <a:endParaRPr lang="ru-RU" dirty="0"/>
          </a:p>
        </p:txBody>
      </p:sp>
      <p:pic>
        <p:nvPicPr>
          <p:cNvPr id="41" name="Picture 2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871" y="1452259"/>
            <a:ext cx="1890464" cy="1467890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" descr="ÐÐ°ÑÑÐ¸Ð½ÐºÐ¸ Ð¿Ð¾ Ð·Ð°Ð¿ÑÐ¾ÑÑ Ð¼Ð¾ÑÐµÐºÐ°Ð¼ÐµÐ½Ð½Ð°Ñ Ð±Ð¾Ð»ÐµÐ·Ð½Ñ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4966" y="5280750"/>
            <a:ext cx="1896783" cy="1427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6" descr="ÐÐ°ÑÑÐ¸Ð½ÐºÐ¸ Ð¿Ð¾ Ð·Ð°Ð¿ÑÐ¾ÑÑ ÑÐ°ÑÐ°ÑÐ½ÑÐ¹ Ð´Ð¸Ð°Ð±ÐµÑ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3236" y="2920149"/>
            <a:ext cx="1780244" cy="1189796"/>
          </a:xfrm>
          <a:prstGeom prst="rect">
            <a:avLst/>
          </a:prstGeom>
          <a:noFill/>
          <a:effectLst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8" descr="ÐÐ°ÑÑÐ¸Ð½ÐºÐ¸ Ð¿Ð¾ Ð·Ð°Ð¿ÑÐ¾ÑÑ ÑÐ·Ð²Ð° Ð¶ÐµÐ»ÑÐ´ÐºÐ°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0222" y="4134799"/>
            <a:ext cx="1547221" cy="1160416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Заголовок 1"/>
          <p:cNvSpPr txBox="1">
            <a:spLocks/>
          </p:cNvSpPr>
          <p:nvPr/>
        </p:nvSpPr>
        <p:spPr>
          <a:xfrm>
            <a:off x="6332507" y="1840869"/>
            <a:ext cx="5841437" cy="7443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</a:rPr>
              <a:t>Ведущей причиной заболеваемости и инвалидности трудоспособного населения являются так называемые </a:t>
            </a:r>
            <a:r>
              <a:rPr lang="ru-RU" sz="2900" b="1" dirty="0">
                <a:solidFill>
                  <a:schemeClr val="accent5">
                    <a:lumMod val="75000"/>
                  </a:schemeClr>
                </a:solidFill>
              </a:rPr>
              <a:t>алиментарно-зависимые заболевания 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9322" y="2514636"/>
            <a:ext cx="3538695" cy="2654022"/>
          </a:xfrm>
          <a:prstGeom prst="rect">
            <a:avLst/>
          </a:prstGeom>
          <a:effectLst>
            <a:softEdge rad="317500"/>
          </a:effectLst>
        </p:spPr>
      </p:pic>
      <p:sp>
        <p:nvSpPr>
          <p:cNvPr id="2" name="Прямоугольник 1"/>
          <p:cNvSpPr/>
          <p:nvPr/>
        </p:nvSpPr>
        <p:spPr>
          <a:xfrm>
            <a:off x="7490915" y="6023918"/>
            <a:ext cx="37143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srgbClr val="FF0000"/>
                </a:solidFill>
              </a:rPr>
              <a:t>&gt;</a:t>
            </a:r>
            <a:r>
              <a:rPr lang="ru-RU" b="1" dirty="0" smtClean="0">
                <a:solidFill>
                  <a:srgbClr val="FF0000"/>
                </a:solidFill>
              </a:rPr>
              <a:t> 80% всех заболеваний работающего населения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18899" y="5260990"/>
            <a:ext cx="278802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pc="6" dirty="0"/>
              <a:t>снижение временной нетрудоспособности, инвалидности и смертност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3884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Овал 108"/>
          <p:cNvSpPr/>
          <p:nvPr/>
        </p:nvSpPr>
        <p:spPr>
          <a:xfrm>
            <a:off x="3018430" y="5496718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B6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107" name="Овал 106"/>
          <p:cNvSpPr/>
          <p:nvPr/>
        </p:nvSpPr>
        <p:spPr>
          <a:xfrm>
            <a:off x="2759123" y="3861260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B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106" name="Овал 105"/>
          <p:cNvSpPr/>
          <p:nvPr/>
        </p:nvSpPr>
        <p:spPr>
          <a:xfrm>
            <a:off x="2117678" y="5048615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n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105" name="Овал 104"/>
          <p:cNvSpPr/>
          <p:nvPr/>
        </p:nvSpPr>
        <p:spPr>
          <a:xfrm>
            <a:off x="1967553" y="3424532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n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97" name="Овал 96"/>
          <p:cNvSpPr/>
          <p:nvPr/>
        </p:nvSpPr>
        <p:spPr>
          <a:xfrm>
            <a:off x="2224586" y="5667315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n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98" name="Овал 97"/>
          <p:cNvSpPr/>
          <p:nvPr/>
        </p:nvSpPr>
        <p:spPr>
          <a:xfrm>
            <a:off x="2595349" y="5546760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n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78" name="Овал 77"/>
          <p:cNvSpPr/>
          <p:nvPr/>
        </p:nvSpPr>
        <p:spPr>
          <a:xfrm>
            <a:off x="1596789" y="5148699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n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77" name="Овал 76"/>
          <p:cNvSpPr/>
          <p:nvPr/>
        </p:nvSpPr>
        <p:spPr>
          <a:xfrm>
            <a:off x="1555845" y="4136492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n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76" name="Овал 75"/>
          <p:cNvSpPr/>
          <p:nvPr/>
        </p:nvSpPr>
        <p:spPr>
          <a:xfrm>
            <a:off x="2527112" y="4809781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Ni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42" name="Овал 41"/>
          <p:cNvSpPr/>
          <p:nvPr/>
        </p:nvSpPr>
        <p:spPr>
          <a:xfrm>
            <a:off x="3079846" y="2769441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n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43" name="Овал 42"/>
          <p:cNvSpPr/>
          <p:nvPr/>
        </p:nvSpPr>
        <p:spPr>
          <a:xfrm>
            <a:off x="2904699" y="4272969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n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2859207" y="5128229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S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37" name="Овал 36"/>
          <p:cNvSpPr/>
          <p:nvPr/>
        </p:nvSpPr>
        <p:spPr>
          <a:xfrm>
            <a:off x="2060813" y="4698324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Se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38" name="Овал 37"/>
          <p:cNvSpPr/>
          <p:nvPr/>
        </p:nvSpPr>
        <p:spPr>
          <a:xfrm>
            <a:off x="2390633" y="4059154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n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39" name="Овал 38"/>
          <p:cNvSpPr/>
          <p:nvPr/>
        </p:nvSpPr>
        <p:spPr>
          <a:xfrm>
            <a:off x="2761398" y="3501870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n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40" name="Овал 39"/>
          <p:cNvSpPr/>
          <p:nvPr/>
        </p:nvSpPr>
        <p:spPr>
          <a:xfrm>
            <a:off x="2941093" y="3081064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V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116541" y="149071"/>
            <a:ext cx="11985811" cy="1196451"/>
          </a:xfrm>
          <a:prstGeom prst="rect">
            <a:avLst/>
          </a:prstGeom>
          <a:extLst/>
        </p:spPr>
        <p:txBody>
          <a:bodyPr rtlCol="0">
            <a:noAutofit/>
          </a:bodyPr>
          <a:lstStyle/>
          <a:p>
            <a:pPr defTabSz="914400" fontAlgn="auto">
              <a:spcAft>
                <a:spcPts val="0"/>
              </a:spcAft>
              <a:defRPr/>
            </a:pPr>
            <a:r>
              <a:rPr lang="ru-RU" altLang="ru-RU" sz="3200" b="1" dirty="0" smtClean="0">
                <a:solidFill>
                  <a:schemeClr val="bg1"/>
                </a:solidFill>
                <a:latin typeface="Calibri"/>
                <a:cs typeface="Times New Roman" panose="02020603050405020304" pitchFamily="18" charset="0"/>
              </a:rPr>
              <a:t>Организм человека находится в «пищевом потоке», </a:t>
            </a:r>
          </a:p>
          <a:p>
            <a:pPr defTabSz="914400" fontAlgn="auto">
              <a:spcAft>
                <a:spcPts val="0"/>
              </a:spcAft>
              <a:defRPr/>
            </a:pPr>
            <a:r>
              <a:rPr lang="ru-RU" altLang="ru-RU" sz="3200" b="1" dirty="0" smtClean="0">
                <a:solidFill>
                  <a:schemeClr val="bg1"/>
                </a:solidFill>
                <a:latin typeface="Calibri"/>
                <a:cs typeface="Times New Roman" panose="02020603050405020304" pitchFamily="18" charset="0"/>
              </a:rPr>
              <a:t>который определяет состояние его здоровья</a:t>
            </a:r>
          </a:p>
        </p:txBody>
      </p:sp>
      <p:pic>
        <p:nvPicPr>
          <p:cNvPr id="5" name="Shape 100"/>
          <p:cNvPicPr preferRelativeResize="0"/>
          <p:nvPr/>
        </p:nvPicPr>
        <p:blipFill>
          <a:blip r:embed="rId2">
            <a:alphaModFix/>
            <a:lum bright="-30000"/>
          </a:blip>
          <a:stretch>
            <a:fillRect/>
          </a:stretch>
        </p:blipFill>
        <p:spPr>
          <a:xfrm>
            <a:off x="5154742" y="1741786"/>
            <a:ext cx="1819273" cy="4512386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Овал 17"/>
          <p:cNvSpPr/>
          <p:nvPr/>
        </p:nvSpPr>
        <p:spPr>
          <a:xfrm>
            <a:off x="1769660" y="1827745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n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1922060" y="5501267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H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1555845" y="4589142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B9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1555845" y="3704312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n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1555845" y="2860425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B6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1583141" y="2316788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n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2222311" y="1447882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Zn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1760562" y="5121404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D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26" name="Овал 25"/>
          <p:cNvSpPr/>
          <p:nvPr/>
        </p:nvSpPr>
        <p:spPr>
          <a:xfrm>
            <a:off x="1735541" y="4209279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</a:rPr>
              <a:t>Р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27" name="Овал 26"/>
          <p:cNvSpPr/>
          <p:nvPr/>
        </p:nvSpPr>
        <p:spPr>
          <a:xfrm>
            <a:off x="1555845" y="3351745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C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28" name="Овал 27"/>
          <p:cNvSpPr/>
          <p:nvPr/>
        </p:nvSpPr>
        <p:spPr>
          <a:xfrm>
            <a:off x="1753738" y="2507858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PP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29" name="Овал 28"/>
          <p:cNvSpPr/>
          <p:nvPr/>
        </p:nvSpPr>
        <p:spPr>
          <a:xfrm>
            <a:off x="1992574" y="1982419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E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2581703" y="1643500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n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31" name="Овал 30"/>
          <p:cNvSpPr/>
          <p:nvPr/>
        </p:nvSpPr>
        <p:spPr>
          <a:xfrm>
            <a:off x="1860644" y="3815768"/>
            <a:ext cx="868908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prstClr val="black"/>
                </a:solidFill>
              </a:rPr>
              <a:t>Chol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32" name="Овал 31"/>
          <p:cNvSpPr/>
          <p:nvPr/>
        </p:nvSpPr>
        <p:spPr>
          <a:xfrm>
            <a:off x="1958455" y="2999177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Na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33" name="Овал 32"/>
          <p:cNvSpPr/>
          <p:nvPr/>
        </p:nvSpPr>
        <p:spPr>
          <a:xfrm>
            <a:off x="2415655" y="2869524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</a:rPr>
              <a:t>К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34" name="Овал 33"/>
          <p:cNvSpPr/>
          <p:nvPr/>
        </p:nvSpPr>
        <p:spPr>
          <a:xfrm>
            <a:off x="2213213" y="2366832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n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35" name="Овал 34"/>
          <p:cNvSpPr/>
          <p:nvPr/>
        </p:nvSpPr>
        <p:spPr>
          <a:xfrm>
            <a:off x="2420204" y="1959673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n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36" name="Овал 35"/>
          <p:cNvSpPr/>
          <p:nvPr/>
        </p:nvSpPr>
        <p:spPr>
          <a:xfrm>
            <a:off x="2750025" y="2043835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B9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3022980" y="1579810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Cr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3016155" y="3456379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</a:rPr>
              <a:t>ЕЕ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3152633" y="4837077"/>
            <a:ext cx="682387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A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3048001" y="4184258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</a:rPr>
              <a:t>У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2442949" y="5371615"/>
            <a:ext cx="698310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B1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2381535" y="4418545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Ca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2317846" y="3495046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Fe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41" name="Овал 40"/>
          <p:cNvSpPr/>
          <p:nvPr/>
        </p:nvSpPr>
        <p:spPr>
          <a:xfrm>
            <a:off x="3093493" y="2250826"/>
            <a:ext cx="727879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err="1" smtClean="0">
                <a:solidFill>
                  <a:prstClr val="black"/>
                </a:solidFill>
              </a:rPr>
              <a:t>Mn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2547583" y="2400951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prstClr val="black"/>
                </a:solidFill>
              </a:rPr>
              <a:t>I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3441511" y="2148468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</a:rPr>
              <a:t>Б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3145810" y="2780815"/>
            <a:ext cx="641444" cy="641445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</a:rPr>
              <a:t>Ж</a:t>
            </a:r>
            <a:endParaRPr lang="ru-RU" b="1" dirty="0">
              <a:solidFill>
                <a:prstClr val="black"/>
              </a:solidFill>
            </a:endParaRPr>
          </a:p>
        </p:txBody>
      </p:sp>
      <p:cxnSp>
        <p:nvCxnSpPr>
          <p:cNvPr id="45" name="Скругленная соединительная линия 44"/>
          <p:cNvCxnSpPr>
            <a:stCxn id="17" idx="6"/>
          </p:cNvCxnSpPr>
          <p:nvPr/>
        </p:nvCxnSpPr>
        <p:spPr>
          <a:xfrm>
            <a:off x="3664424" y="1900533"/>
            <a:ext cx="1644555" cy="641446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Скругленная соединительная линия 46"/>
          <p:cNvCxnSpPr>
            <a:stCxn id="8" idx="6"/>
          </p:cNvCxnSpPr>
          <p:nvPr/>
        </p:nvCxnSpPr>
        <p:spPr>
          <a:xfrm>
            <a:off x="4082955" y="2469191"/>
            <a:ext cx="1212377" cy="591403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Скругленная соединительная линия 51"/>
          <p:cNvCxnSpPr>
            <a:stCxn id="11" idx="6"/>
          </p:cNvCxnSpPr>
          <p:nvPr/>
        </p:nvCxnSpPr>
        <p:spPr>
          <a:xfrm>
            <a:off x="3787254" y="3101538"/>
            <a:ext cx="1385248" cy="559558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Скругленная соединительная линия 54"/>
          <p:cNvCxnSpPr/>
          <p:nvPr/>
        </p:nvCxnSpPr>
        <p:spPr>
          <a:xfrm>
            <a:off x="3684896" y="3715687"/>
            <a:ext cx="1419367" cy="177421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Скругленная соединительная линия 56"/>
          <p:cNvCxnSpPr>
            <a:stCxn id="9" idx="6"/>
          </p:cNvCxnSpPr>
          <p:nvPr/>
        </p:nvCxnSpPr>
        <p:spPr>
          <a:xfrm flipV="1">
            <a:off x="3835020" y="4766564"/>
            <a:ext cx="1187356" cy="391236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Скругленная соединительная линия 59"/>
          <p:cNvCxnSpPr>
            <a:stCxn id="7" idx="5"/>
          </p:cNvCxnSpPr>
          <p:nvPr/>
        </p:nvCxnSpPr>
        <p:spPr>
          <a:xfrm rot="16200000" flipH="1">
            <a:off x="4300643" y="3266906"/>
            <a:ext cx="39346" cy="1513308"/>
          </a:xfrm>
          <a:prstGeom prst="curvedConnector4">
            <a:avLst>
              <a:gd name="adj1" fmla="val 580999"/>
              <a:gd name="adj2" fmla="val 53104"/>
            </a:avLst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Скругленная соединительная линия 60"/>
          <p:cNvCxnSpPr>
            <a:stCxn id="16" idx="5"/>
          </p:cNvCxnSpPr>
          <p:nvPr/>
        </p:nvCxnSpPr>
        <p:spPr>
          <a:xfrm rot="5400000" flipH="1" flipV="1">
            <a:off x="4148919" y="4638508"/>
            <a:ext cx="295023" cy="1779435"/>
          </a:xfrm>
          <a:prstGeom prst="curvedConnector4">
            <a:avLst>
              <a:gd name="adj1" fmla="val -77485"/>
              <a:gd name="adj2" fmla="val 52640"/>
            </a:avLst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Скругленная соединительная линия 61"/>
          <p:cNvCxnSpPr>
            <a:stCxn id="10" idx="6"/>
          </p:cNvCxnSpPr>
          <p:nvPr/>
        </p:nvCxnSpPr>
        <p:spPr>
          <a:xfrm flipV="1">
            <a:off x="3689445" y="4220654"/>
            <a:ext cx="1387522" cy="284327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Скругленная соединительная линия 70"/>
          <p:cNvCxnSpPr>
            <a:stCxn id="10" idx="5"/>
          </p:cNvCxnSpPr>
          <p:nvPr/>
        </p:nvCxnSpPr>
        <p:spPr>
          <a:xfrm rot="5400000" flipH="1" flipV="1">
            <a:off x="4196688" y="3865134"/>
            <a:ext cx="265452" cy="1467812"/>
          </a:xfrm>
          <a:prstGeom prst="curvedConnector4">
            <a:avLst>
              <a:gd name="adj1" fmla="val -86117"/>
              <a:gd name="adj2" fmla="val 53200"/>
            </a:avLst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Скругленная соединительная линия 73"/>
          <p:cNvCxnSpPr/>
          <p:nvPr/>
        </p:nvCxnSpPr>
        <p:spPr>
          <a:xfrm>
            <a:off x="3907809" y="2771717"/>
            <a:ext cx="1212377" cy="591403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Прямоугольник 74"/>
          <p:cNvSpPr/>
          <p:nvPr/>
        </p:nvSpPr>
        <p:spPr>
          <a:xfrm rot="16200000">
            <a:off x="-400843" y="3567764"/>
            <a:ext cx="28674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ru-RU" b="1" dirty="0" smtClean="0">
                <a:solidFill>
                  <a:srgbClr val="FF0000"/>
                </a:solidFill>
                <a:latin typeface="Calibri"/>
                <a:cs typeface="Times New Roman" pitchFamily="18" charset="0"/>
              </a:rPr>
              <a:t>650</a:t>
            </a:r>
            <a:r>
              <a:rPr lang="ru-RU" altLang="ru-RU" b="1" dirty="0" smtClean="0">
                <a:solidFill>
                  <a:srgbClr val="FF0000"/>
                </a:solidFill>
                <a:latin typeface="Calibri"/>
                <a:cs typeface="Times New Roman" pitchFamily="18" charset="0"/>
              </a:rPr>
              <a:t>+</a:t>
            </a:r>
            <a:r>
              <a:rPr lang="en-US" altLang="ru-RU" b="1" dirty="0" smtClean="0">
                <a:solidFill>
                  <a:srgbClr val="FF0000"/>
                </a:solidFill>
                <a:latin typeface="Calibri"/>
                <a:cs typeface="Times New Roman" pitchFamily="18" charset="0"/>
              </a:rPr>
              <a:t> </a:t>
            </a:r>
            <a:r>
              <a:rPr lang="ru-RU" altLang="ru-RU" b="1" dirty="0" smtClean="0">
                <a:solidFill>
                  <a:srgbClr val="FF0000"/>
                </a:solidFill>
                <a:latin typeface="Calibri"/>
                <a:cs typeface="Times New Roman" pitchFamily="18" charset="0"/>
              </a:rPr>
              <a:t>нутриентов</a:t>
            </a:r>
            <a:r>
              <a:rPr lang="en-US" altLang="ru-RU" b="1" dirty="0" smtClean="0">
                <a:solidFill>
                  <a:srgbClr val="FF0000"/>
                </a:solidFill>
                <a:latin typeface="Calibri"/>
                <a:cs typeface="Times New Roman" pitchFamily="18" charset="0"/>
              </a:rPr>
              <a:t> </a:t>
            </a:r>
            <a:endParaRPr lang="ru-RU" b="1" dirty="0">
              <a:solidFill>
                <a:srgbClr val="FF0000"/>
              </a:solidFill>
              <a:latin typeface="Calibri"/>
            </a:endParaRPr>
          </a:p>
        </p:txBody>
      </p:sp>
      <p:cxnSp>
        <p:nvCxnSpPr>
          <p:cNvPr id="81" name="Скругленная соединительная линия 80"/>
          <p:cNvCxnSpPr/>
          <p:nvPr/>
        </p:nvCxnSpPr>
        <p:spPr>
          <a:xfrm flipV="1">
            <a:off x="3548418" y="5107758"/>
            <a:ext cx="1555845" cy="477673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Скругленная соединительная линия 86"/>
          <p:cNvCxnSpPr>
            <a:stCxn id="108" idx="3"/>
            <a:endCxn id="89" idx="2"/>
          </p:cNvCxnSpPr>
          <p:nvPr/>
        </p:nvCxnSpPr>
        <p:spPr>
          <a:xfrm>
            <a:off x="6974005" y="3783210"/>
            <a:ext cx="580030" cy="96247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Овал 88"/>
          <p:cNvSpPr/>
          <p:nvPr/>
        </p:nvSpPr>
        <p:spPr>
          <a:xfrm>
            <a:off x="7554035" y="3558734"/>
            <a:ext cx="2135876" cy="641445"/>
          </a:xfrm>
          <a:prstGeom prst="ellips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</a:rPr>
              <a:t>Метаболиты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90" name="Овал 89"/>
          <p:cNvSpPr/>
          <p:nvPr/>
        </p:nvSpPr>
        <p:spPr>
          <a:xfrm>
            <a:off x="7665491" y="2168939"/>
            <a:ext cx="1123667" cy="641445"/>
          </a:xfrm>
          <a:prstGeom prst="ellips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</a:rPr>
              <a:t>СО2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91" name="Овал 90"/>
          <p:cNvSpPr/>
          <p:nvPr/>
        </p:nvSpPr>
        <p:spPr>
          <a:xfrm>
            <a:off x="7790596" y="5023595"/>
            <a:ext cx="1271518" cy="641445"/>
          </a:xfrm>
          <a:prstGeom prst="ellips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prstClr val="black"/>
                </a:solidFill>
              </a:rPr>
              <a:t>Н2О</a:t>
            </a:r>
            <a:endParaRPr lang="ru-RU" b="1" dirty="0">
              <a:solidFill>
                <a:prstClr val="black"/>
              </a:solidFill>
            </a:endParaRPr>
          </a:p>
        </p:txBody>
      </p:sp>
      <p:cxnSp>
        <p:nvCxnSpPr>
          <p:cNvPr id="93" name="Скругленная соединительная линия 92"/>
          <p:cNvCxnSpPr>
            <a:endCxn id="90" idx="2"/>
          </p:cNvCxnSpPr>
          <p:nvPr/>
        </p:nvCxnSpPr>
        <p:spPr>
          <a:xfrm flipV="1">
            <a:off x="6828431" y="2489662"/>
            <a:ext cx="837060" cy="138752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Скругленная соединительная линия 94"/>
          <p:cNvCxnSpPr>
            <a:endCxn id="91" idx="2"/>
          </p:cNvCxnSpPr>
          <p:nvPr/>
        </p:nvCxnSpPr>
        <p:spPr>
          <a:xfrm>
            <a:off x="6773840" y="5166897"/>
            <a:ext cx="1016756" cy="177421"/>
          </a:xfrm>
          <a:prstGeom prst="curvedConnector3">
            <a:avLst>
              <a:gd name="adj1" fmla="val 50000"/>
            </a:avLst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Скругленная соединительная линия 98"/>
          <p:cNvCxnSpPr>
            <a:stCxn id="109" idx="5"/>
          </p:cNvCxnSpPr>
          <p:nvPr/>
        </p:nvCxnSpPr>
        <p:spPr>
          <a:xfrm rot="5400000" flipH="1" flipV="1">
            <a:off x="4269476" y="5113905"/>
            <a:ext cx="226782" cy="1633860"/>
          </a:xfrm>
          <a:prstGeom prst="curvedConnector4">
            <a:avLst>
              <a:gd name="adj1" fmla="val -34604"/>
              <a:gd name="adj2" fmla="val 52875"/>
            </a:avLst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Прямоугольник 107"/>
          <p:cNvSpPr/>
          <p:nvPr/>
        </p:nvSpPr>
        <p:spPr>
          <a:xfrm>
            <a:off x="5240738" y="3413878"/>
            <a:ext cx="173326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prstClr val="black"/>
                </a:solidFill>
                <a:latin typeface="Calibri"/>
                <a:cs typeface="Times New Roman" pitchFamily="18" charset="0"/>
              </a:rPr>
              <a:t>Каскадные биохимические реакции</a:t>
            </a:r>
            <a:endParaRPr lang="ru-RU" sz="1400" b="1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10" name="Скругленная соединительная линия 109"/>
          <p:cNvCxnSpPr>
            <a:stCxn id="17" idx="7"/>
          </p:cNvCxnSpPr>
          <p:nvPr/>
        </p:nvCxnSpPr>
        <p:spPr>
          <a:xfrm rot="16200000" flipH="1">
            <a:off x="4223980" y="1020253"/>
            <a:ext cx="363265" cy="1670253"/>
          </a:xfrm>
          <a:prstGeom prst="curvedConnector4">
            <a:avLst>
              <a:gd name="adj1" fmla="val 940"/>
              <a:gd name="adj2" fmla="val 52812"/>
            </a:avLst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11"/>
          <p:cNvSpPr/>
          <p:nvPr/>
        </p:nvSpPr>
        <p:spPr>
          <a:xfrm>
            <a:off x="5459696" y="2630185"/>
            <a:ext cx="122770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400" b="1" dirty="0" smtClean="0">
                <a:solidFill>
                  <a:prstClr val="black"/>
                </a:solidFill>
                <a:cs typeface="Times New Roman" pitchFamily="18" charset="0"/>
              </a:rPr>
              <a:t>Структурное процессы</a:t>
            </a:r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5421027" y="4638680"/>
            <a:ext cx="122770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400" b="1" dirty="0" smtClean="0">
                <a:solidFill>
                  <a:prstClr val="black"/>
                </a:solidFill>
                <a:cs typeface="Times New Roman" pitchFamily="18" charset="0"/>
              </a:rPr>
              <a:t>Транзит </a:t>
            </a:r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119" name="Прямоугольник 118"/>
          <p:cNvSpPr/>
          <p:nvPr/>
        </p:nvSpPr>
        <p:spPr>
          <a:xfrm>
            <a:off x="5063318" y="6290059"/>
            <a:ext cx="21699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ru-RU" b="1" dirty="0" smtClean="0">
                <a:solidFill>
                  <a:srgbClr val="FF0000"/>
                </a:solidFill>
                <a:latin typeface="Calibri"/>
                <a:cs typeface="Times New Roman" pitchFamily="18" charset="0"/>
              </a:rPr>
              <a:t>2500</a:t>
            </a:r>
            <a:r>
              <a:rPr lang="ru-RU" altLang="ru-RU" b="1" dirty="0" smtClean="0">
                <a:solidFill>
                  <a:srgbClr val="FF0000"/>
                </a:solidFill>
                <a:latin typeface="Calibri"/>
                <a:cs typeface="Times New Roman" pitchFamily="18" charset="0"/>
              </a:rPr>
              <a:t>+</a:t>
            </a:r>
            <a:r>
              <a:rPr lang="en-US" altLang="ru-RU" b="1" dirty="0" smtClean="0">
                <a:solidFill>
                  <a:srgbClr val="FF0000"/>
                </a:solidFill>
                <a:latin typeface="Calibri"/>
                <a:cs typeface="Times New Roman" pitchFamily="18" charset="0"/>
              </a:rPr>
              <a:t> </a:t>
            </a:r>
            <a:r>
              <a:rPr lang="ru-RU" altLang="ru-RU" b="1" dirty="0" smtClean="0">
                <a:solidFill>
                  <a:srgbClr val="FF0000"/>
                </a:solidFill>
                <a:latin typeface="Calibri"/>
                <a:cs typeface="Times New Roman" pitchFamily="18" charset="0"/>
              </a:rPr>
              <a:t>метаболитов</a:t>
            </a:r>
            <a:endParaRPr lang="ru-RU" b="1" dirty="0">
              <a:solidFill>
                <a:srgbClr val="FF0000"/>
              </a:solidFill>
              <a:latin typeface="Calibri"/>
            </a:endParaRPr>
          </a:p>
        </p:txBody>
      </p:sp>
      <p:pic>
        <p:nvPicPr>
          <p:cNvPr id="79" name="Picture 2" descr="Картинки по запросу лабораторная диагностика содержания витаминов и минеральных веществ в организме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870274" y="1495501"/>
            <a:ext cx="1939498" cy="2337095"/>
          </a:xfrm>
          <a:prstGeom prst="rect">
            <a:avLst/>
          </a:prstGeom>
          <a:noFill/>
        </p:spPr>
      </p:pic>
      <p:pic>
        <p:nvPicPr>
          <p:cNvPr id="80" name="Picture 2" descr="Картинки по запросу лабораторная диагностика содержания витаминов и минеральных веществ в организме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668367" y="4863852"/>
            <a:ext cx="2343312" cy="1757484"/>
          </a:xfrm>
          <a:prstGeom prst="rect">
            <a:avLst/>
          </a:prstGeom>
          <a:noFill/>
          <a:effectLst>
            <a:softEdge rad="228600"/>
          </a:effectLst>
        </p:spPr>
      </p:pic>
    </p:spTree>
    <p:extLst>
      <p:ext uri="{BB962C8B-B14F-4D97-AF65-F5344CB8AC3E}">
        <p14:creationId xmlns:p14="http://schemas.microsoft.com/office/powerpoint/2010/main" val="2624843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ÐºÐ°Ñ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361" y="1825013"/>
            <a:ext cx="1996965" cy="32356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ÐÐ°ÑÑÐ¸Ð½ÐºÐ¸ Ð¿Ð¾ Ð·Ð°Ð¿ÑÐ¾ÑÑ Ð¿ÑÐ¾ÐµÐºÑ ÑÐµÐ²ÐµÑÐ½Ð°Ñ ÐºÐ°ÑÐµÐ»Ð¸Ñ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5956" y="2221197"/>
            <a:ext cx="4346270" cy="2758804"/>
          </a:xfrm>
          <a:prstGeom prst="rect">
            <a:avLst/>
          </a:prstGeom>
          <a:noFill/>
          <a:effectLst>
            <a:softEdge rad="1016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9407" y="4980001"/>
            <a:ext cx="4298239" cy="1792274"/>
          </a:xfrm>
          <a:prstGeom prst="rect">
            <a:avLst/>
          </a:prstGeom>
        </p:spPr>
      </p:pic>
      <p:pic>
        <p:nvPicPr>
          <p:cNvPr id="2054" name="Picture 6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8559" y="4725998"/>
            <a:ext cx="2183522" cy="2046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94290" y="365987"/>
            <a:ext cx="1118300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chemeClr val="bg1"/>
                </a:solidFill>
                <a:latin typeface="Calibri"/>
                <a:cs typeface="Times New Roman" panose="02020603050405020304" pitchFamily="18" charset="0"/>
              </a:rPr>
              <a:t>Возможно ли </a:t>
            </a:r>
            <a:r>
              <a:rPr lang="ru-RU" sz="3200" b="1" dirty="0" smtClean="0">
                <a:solidFill>
                  <a:schemeClr val="bg1"/>
                </a:solidFill>
                <a:latin typeface="Calibri"/>
                <a:cs typeface="Times New Roman" panose="02020603050405020304" pitchFamily="18" charset="0"/>
              </a:rPr>
              <a:t>оптимизировать </a:t>
            </a:r>
            <a:r>
              <a:rPr lang="ru-RU" sz="3200" b="1" dirty="0">
                <a:solidFill>
                  <a:schemeClr val="bg1"/>
                </a:solidFill>
                <a:latin typeface="Calibri"/>
                <a:cs typeface="Times New Roman" panose="02020603050405020304" pitchFamily="18" charset="0"/>
              </a:rPr>
              <a:t>питание населения?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96" t="22682" r="30230" b="34253"/>
          <a:stretch/>
        </p:blipFill>
        <p:spPr>
          <a:xfrm>
            <a:off x="7268559" y="1742176"/>
            <a:ext cx="3920358" cy="2983822"/>
          </a:xfrm>
          <a:prstGeom prst="rect">
            <a:avLst/>
          </a:prstGeom>
          <a:effectLst>
            <a:softEdge rad="88900"/>
          </a:effectLst>
        </p:spPr>
      </p:pic>
      <p:sp>
        <p:nvSpPr>
          <p:cNvPr id="5" name="Прямоугольник 4"/>
          <p:cNvSpPr/>
          <p:nvPr/>
        </p:nvSpPr>
        <p:spPr>
          <a:xfrm>
            <a:off x="1750993" y="1498580"/>
            <a:ext cx="30176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</a:rPr>
              <a:t>Проект «Северная Карелия»</a:t>
            </a:r>
            <a:endParaRPr lang="ru-RU" dirty="0"/>
          </a:p>
        </p:txBody>
      </p:sp>
      <p:sp>
        <p:nvSpPr>
          <p:cNvPr id="9" name="object 5"/>
          <p:cNvSpPr txBox="1"/>
          <p:nvPr/>
        </p:nvSpPr>
        <p:spPr>
          <a:xfrm>
            <a:off x="9858860" y="5047444"/>
            <a:ext cx="2080889" cy="1724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>
              <a:lnSpc>
                <a:spcPct val="112400"/>
              </a:lnSpc>
            </a:pPr>
            <a:r>
              <a:rPr lang="ru-RU" sz="1001" spc="-3" dirty="0">
                <a:solidFill>
                  <a:srgbClr val="4E4E4E"/>
                </a:solidFill>
                <a:latin typeface="Roboto Light"/>
                <a:cs typeface="Roboto Light"/>
              </a:rPr>
              <a:t>Профилактика и ранее выявление алиментарно-зависимых заболеваний является наиболее перспективным способом снижения экономических потерь  промышленных предприятий вследствие заболеваний и инвалидности сотрудников, но реализуется крайне неэффективно.</a:t>
            </a:r>
            <a:endParaRPr lang="ru-RU" sz="1001" dirty="0">
              <a:solidFill>
                <a:prstClr val="black"/>
              </a:solidFill>
              <a:latin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3437099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Shape 88"/>
          <p:cNvSpPr txBox="1">
            <a:spLocks noGrp="1"/>
          </p:cNvSpPr>
          <p:nvPr>
            <p:ph type="title"/>
          </p:nvPr>
        </p:nvSpPr>
        <p:spPr>
          <a:xfrm>
            <a:off x="0" y="224305"/>
            <a:ext cx="12192000" cy="1177043"/>
          </a:xfrm>
          <a:prstGeom prst="rect">
            <a:avLst/>
          </a:prstGeom>
        </p:spPr>
        <p:txBody>
          <a:bodyPr lIns="121897" tIns="121897" rIns="121897" bIns="121897" anchor="t" anchorCtr="0">
            <a:noAutofit/>
          </a:bodyPr>
          <a:lstStyle/>
          <a:p>
            <a:r>
              <a:rPr lang="ru-RU" sz="3200" dirty="0"/>
              <a:t>Наиболее эффективным подходом является персонализированная диетология</a:t>
            </a:r>
            <a:endParaRPr lang="en" sz="3200" dirty="0"/>
          </a:p>
        </p:txBody>
      </p:sp>
      <p:sp>
        <p:nvSpPr>
          <p:cNvPr id="89" name="Shape 89"/>
          <p:cNvSpPr txBox="1">
            <a:spLocks noGrp="1"/>
          </p:cNvSpPr>
          <p:nvPr>
            <p:ph type="subTitle" idx="4294967295"/>
          </p:nvPr>
        </p:nvSpPr>
        <p:spPr>
          <a:xfrm>
            <a:off x="8810804" y="3550078"/>
            <a:ext cx="1907600" cy="722800"/>
          </a:xfrm>
          <a:prstGeom prst="rect">
            <a:avLst/>
          </a:prstGeom>
        </p:spPr>
        <p:txBody>
          <a:bodyPr lIns="121897" tIns="121897" rIns="121897" bIns="121897" anchor="t" anchorCtr="0">
            <a:noAutofit/>
          </a:bodyPr>
          <a:lstStyle/>
          <a:p>
            <a:pPr marL="1588" indent="12700">
              <a:spcBef>
                <a:spcPts val="0"/>
              </a:spcBef>
              <a:buNone/>
            </a:pPr>
            <a:r>
              <a:rPr lang="en" sz="1300" dirty="0">
                <a:solidFill>
                  <a:srgbClr val="485C69"/>
                </a:solidFill>
                <a:latin typeface="Open Sans"/>
                <a:ea typeface="Open Sans"/>
                <a:cs typeface="Open Sans"/>
                <a:sym typeface="Open Sans"/>
              </a:rPr>
              <a:t>Исследование основного обмена</a:t>
            </a:r>
          </a:p>
        </p:txBody>
      </p:sp>
      <p:sp>
        <p:nvSpPr>
          <p:cNvPr id="90" name="Shape 90"/>
          <p:cNvSpPr txBox="1">
            <a:spLocks noGrp="1"/>
          </p:cNvSpPr>
          <p:nvPr>
            <p:ph type="subTitle" idx="4294967295"/>
          </p:nvPr>
        </p:nvSpPr>
        <p:spPr>
          <a:xfrm>
            <a:off x="98828" y="3608931"/>
            <a:ext cx="2854000" cy="903600"/>
          </a:xfrm>
          <a:prstGeom prst="rect">
            <a:avLst/>
          </a:prstGeom>
        </p:spPr>
        <p:txBody>
          <a:bodyPr lIns="121897" tIns="121897" rIns="121897" bIns="121897" anchor="t" anchorCtr="0">
            <a:noAutofit/>
          </a:bodyPr>
          <a:lstStyle/>
          <a:p>
            <a:pPr algn="r">
              <a:spcBef>
                <a:spcPts val="0"/>
              </a:spcBef>
              <a:buNone/>
            </a:pPr>
            <a:r>
              <a:rPr lang="en" sz="1300" dirty="0">
                <a:solidFill>
                  <a:srgbClr val="485C69"/>
                </a:solidFill>
                <a:latin typeface="Open Sans"/>
                <a:ea typeface="Open Sans"/>
                <a:cs typeface="Open Sans"/>
                <a:sym typeface="Open Sans"/>
              </a:rPr>
              <a:t>Лабораторная диагностика обеспеченности витаминами и микроэлементами</a:t>
            </a:r>
          </a:p>
        </p:txBody>
      </p:sp>
      <p:sp>
        <p:nvSpPr>
          <p:cNvPr id="91" name="Shape 91"/>
          <p:cNvSpPr txBox="1">
            <a:spLocks noGrp="1"/>
          </p:cNvSpPr>
          <p:nvPr>
            <p:ph type="subTitle" idx="4294967295"/>
          </p:nvPr>
        </p:nvSpPr>
        <p:spPr>
          <a:xfrm>
            <a:off x="30428" y="5090531"/>
            <a:ext cx="2922400" cy="722800"/>
          </a:xfrm>
          <a:prstGeom prst="rect">
            <a:avLst/>
          </a:prstGeom>
        </p:spPr>
        <p:txBody>
          <a:bodyPr lIns="121897" tIns="121897" rIns="121897" bIns="121897" anchor="t" anchorCtr="0">
            <a:noAutofit/>
          </a:bodyPr>
          <a:lstStyle/>
          <a:p>
            <a:pPr algn="r">
              <a:spcBef>
                <a:spcPts val="0"/>
              </a:spcBef>
              <a:buNone/>
            </a:pPr>
            <a:r>
              <a:rPr lang="en" sz="1300" dirty="0">
                <a:solidFill>
                  <a:srgbClr val="485C69"/>
                </a:solidFill>
                <a:latin typeface="Open Sans"/>
                <a:ea typeface="Open Sans"/>
                <a:cs typeface="Open Sans"/>
                <a:sym typeface="Open Sans"/>
              </a:rPr>
              <a:t>Оценка генетических маркеров нарушения метаболизма</a:t>
            </a:r>
          </a:p>
        </p:txBody>
      </p:sp>
      <p:sp>
        <p:nvSpPr>
          <p:cNvPr id="92" name="Shape 92"/>
          <p:cNvSpPr txBox="1">
            <a:spLocks noGrp="1"/>
          </p:cNvSpPr>
          <p:nvPr>
            <p:ph type="subTitle" idx="4294967295"/>
          </p:nvPr>
        </p:nvSpPr>
        <p:spPr>
          <a:xfrm>
            <a:off x="8718100" y="5174129"/>
            <a:ext cx="3207200" cy="722799"/>
          </a:xfrm>
          <a:prstGeom prst="rect">
            <a:avLst/>
          </a:prstGeom>
        </p:spPr>
        <p:txBody>
          <a:bodyPr lIns="121897" tIns="121897" rIns="121897" bIns="121897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 sz="1300" dirty="0">
                <a:solidFill>
                  <a:srgbClr val="485C69"/>
                </a:solidFill>
                <a:latin typeface="Open Sans"/>
                <a:ea typeface="Open Sans"/>
                <a:cs typeface="Open Sans"/>
                <a:sym typeface="Open Sans"/>
              </a:rPr>
              <a:t>Нагрузочное кардио-респираторное исследование</a:t>
            </a:r>
          </a:p>
        </p:txBody>
      </p:sp>
      <p:sp>
        <p:nvSpPr>
          <p:cNvPr id="93" name="Shape 93"/>
          <p:cNvSpPr txBox="1">
            <a:spLocks noGrp="1"/>
          </p:cNvSpPr>
          <p:nvPr>
            <p:ph type="subTitle" idx="4294967295"/>
          </p:nvPr>
        </p:nvSpPr>
        <p:spPr>
          <a:xfrm>
            <a:off x="113741" y="2229232"/>
            <a:ext cx="2699200" cy="722800"/>
          </a:xfrm>
          <a:prstGeom prst="rect">
            <a:avLst/>
          </a:prstGeom>
        </p:spPr>
        <p:txBody>
          <a:bodyPr lIns="121897" tIns="121897" rIns="121897" bIns="121897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 sz="1300" dirty="0">
                <a:solidFill>
                  <a:srgbClr val="485C69"/>
                </a:solidFill>
                <a:latin typeface="Open Sans"/>
                <a:ea typeface="Open Sans"/>
                <a:cs typeface="Open Sans"/>
                <a:sym typeface="Open Sans"/>
              </a:rPr>
              <a:t>Оценка фактического питания</a:t>
            </a:r>
          </a:p>
        </p:txBody>
      </p:sp>
      <p:pic>
        <p:nvPicPr>
          <p:cNvPr id="94" name="Shape 9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362628" y="3343983"/>
            <a:ext cx="1326133" cy="1326133"/>
          </a:xfrm>
          <a:prstGeom prst="rect">
            <a:avLst/>
          </a:prstGeom>
          <a:noFill/>
          <a:ln>
            <a:noFill/>
          </a:ln>
        </p:spPr>
      </p:pic>
      <p:pic>
        <p:nvPicPr>
          <p:cNvPr id="95" name="Shape 9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049936" y="4861948"/>
            <a:ext cx="1326133" cy="1326133"/>
          </a:xfrm>
          <a:prstGeom prst="rect">
            <a:avLst/>
          </a:prstGeom>
          <a:noFill/>
          <a:ln>
            <a:noFill/>
          </a:ln>
        </p:spPr>
      </p:pic>
      <p:sp>
        <p:nvSpPr>
          <p:cNvPr id="96" name="Shape 96"/>
          <p:cNvSpPr txBox="1">
            <a:spLocks noGrp="1"/>
          </p:cNvSpPr>
          <p:nvPr>
            <p:ph type="subTitle" idx="4294967295"/>
          </p:nvPr>
        </p:nvSpPr>
        <p:spPr>
          <a:xfrm>
            <a:off x="8766422" y="2263578"/>
            <a:ext cx="2902400" cy="406400"/>
          </a:xfrm>
          <a:prstGeom prst="rect">
            <a:avLst/>
          </a:prstGeom>
        </p:spPr>
        <p:txBody>
          <a:bodyPr lIns="121897" tIns="121897" rIns="121897" bIns="121897" anchor="t" anchorCtr="0">
            <a:noAutofit/>
          </a:bodyPr>
          <a:lstStyle/>
          <a:p>
            <a:pPr>
              <a:spcBef>
                <a:spcPts val="0"/>
              </a:spcBef>
              <a:buNone/>
            </a:pPr>
            <a:r>
              <a:rPr lang="en" sz="1300" dirty="0" smtClean="0">
                <a:solidFill>
                  <a:srgbClr val="485C69"/>
                </a:solidFill>
                <a:latin typeface="Open Sans"/>
                <a:ea typeface="Open Sans"/>
                <a:cs typeface="Open Sans"/>
                <a:sym typeface="Open Sans"/>
              </a:rPr>
              <a:t>Био</a:t>
            </a:r>
            <a:r>
              <a:rPr lang="ru-RU" sz="1300" dirty="0" smtClean="0">
                <a:solidFill>
                  <a:srgbClr val="485C69"/>
                </a:solidFill>
                <a:latin typeface="Open Sans"/>
                <a:ea typeface="Open Sans"/>
                <a:cs typeface="Open Sans"/>
                <a:sym typeface="Open Sans"/>
              </a:rPr>
              <a:t>и</a:t>
            </a:r>
            <a:r>
              <a:rPr lang="en" sz="1300" dirty="0" smtClean="0">
                <a:solidFill>
                  <a:srgbClr val="485C69"/>
                </a:solidFill>
                <a:latin typeface="Open Sans"/>
                <a:ea typeface="Open Sans"/>
                <a:cs typeface="Open Sans"/>
                <a:sym typeface="Open Sans"/>
              </a:rPr>
              <a:t>мп</a:t>
            </a:r>
            <a:r>
              <a:rPr lang="ru-RU" sz="1300" dirty="0" smtClean="0">
                <a:solidFill>
                  <a:srgbClr val="485C69"/>
                </a:solidFill>
                <a:latin typeface="Open Sans"/>
                <a:ea typeface="Open Sans"/>
                <a:cs typeface="Open Sans"/>
                <a:sym typeface="Open Sans"/>
              </a:rPr>
              <a:t>е</a:t>
            </a:r>
            <a:r>
              <a:rPr lang="en" sz="1300" dirty="0" smtClean="0">
                <a:solidFill>
                  <a:srgbClr val="485C69"/>
                </a:solidFill>
                <a:latin typeface="Open Sans"/>
                <a:ea typeface="Open Sans"/>
                <a:cs typeface="Open Sans"/>
                <a:sym typeface="Open Sans"/>
              </a:rPr>
              <a:t>дансометрия</a:t>
            </a:r>
            <a:endParaRPr lang="en" sz="1300" dirty="0">
              <a:solidFill>
                <a:srgbClr val="485C69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97" name="Shape 97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379302" y="4899828"/>
            <a:ext cx="1326133" cy="1326133"/>
          </a:xfrm>
          <a:prstGeom prst="rect">
            <a:avLst/>
          </a:prstGeom>
          <a:noFill/>
          <a:ln>
            <a:noFill/>
          </a:ln>
        </p:spPr>
      </p:pic>
      <p:pic>
        <p:nvPicPr>
          <p:cNvPr id="98" name="Shape 98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2930133" y="1905671"/>
            <a:ext cx="1326133" cy="1326133"/>
          </a:xfrm>
          <a:prstGeom prst="rect">
            <a:avLst/>
          </a:prstGeom>
          <a:noFill/>
          <a:ln>
            <a:noFill/>
          </a:ln>
        </p:spPr>
      </p:pic>
      <p:pic>
        <p:nvPicPr>
          <p:cNvPr id="99" name="Shape 99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7338358" y="1804849"/>
            <a:ext cx="1326133" cy="13261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0" name="Shape 100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4950351" y="1616570"/>
            <a:ext cx="1757900" cy="4961467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1" name="Shape 101"/>
          <p:cNvCxnSpPr/>
          <p:nvPr/>
        </p:nvCxnSpPr>
        <p:spPr>
          <a:xfrm rot="10800000" flipH="1">
            <a:off x="4564933" y="2312800"/>
            <a:ext cx="776800" cy="171600"/>
          </a:xfrm>
          <a:prstGeom prst="curvedConnector3">
            <a:avLst>
              <a:gd name="adj1" fmla="val 50000"/>
            </a:avLst>
          </a:prstGeom>
          <a:noFill/>
          <a:ln w="9525" cap="flat" cmpd="sng">
            <a:solidFill>
              <a:srgbClr val="CFE2F3"/>
            </a:solidFill>
            <a:prstDash val="solid"/>
            <a:round/>
            <a:headEnd type="none" w="lg" len="lg"/>
            <a:tailEnd type="none" w="lg" len="lg"/>
          </a:ln>
        </p:spPr>
      </p:cxnSp>
      <p:cxnSp>
        <p:nvCxnSpPr>
          <p:cNvPr id="102" name="Shape 102"/>
          <p:cNvCxnSpPr/>
          <p:nvPr/>
        </p:nvCxnSpPr>
        <p:spPr>
          <a:xfrm rot="10800000">
            <a:off x="6366667" y="2312800"/>
            <a:ext cx="776800" cy="171600"/>
          </a:xfrm>
          <a:prstGeom prst="curvedConnector3">
            <a:avLst>
              <a:gd name="adj1" fmla="val 50000"/>
            </a:avLst>
          </a:prstGeom>
          <a:noFill/>
          <a:ln w="9525" cap="flat" cmpd="sng">
            <a:solidFill>
              <a:srgbClr val="CFE2F3"/>
            </a:solidFill>
            <a:prstDash val="solid"/>
            <a:round/>
            <a:headEnd type="none" w="lg" len="lg"/>
            <a:tailEnd type="none" w="lg" len="lg"/>
          </a:ln>
        </p:spPr>
      </p:cxnSp>
      <p:cxnSp>
        <p:nvCxnSpPr>
          <p:cNvPr id="103" name="Shape 103"/>
          <p:cNvCxnSpPr/>
          <p:nvPr/>
        </p:nvCxnSpPr>
        <p:spPr>
          <a:xfrm rot="10800000" flipH="1">
            <a:off x="4439049" y="4945401"/>
            <a:ext cx="776800" cy="171600"/>
          </a:xfrm>
          <a:prstGeom prst="curvedConnector3">
            <a:avLst>
              <a:gd name="adj1" fmla="val 50000"/>
            </a:avLst>
          </a:prstGeom>
          <a:noFill/>
          <a:ln w="9525" cap="flat" cmpd="sng">
            <a:solidFill>
              <a:srgbClr val="CFE2F3"/>
            </a:solidFill>
            <a:prstDash val="solid"/>
            <a:round/>
            <a:headEnd type="none" w="lg" len="lg"/>
            <a:tailEnd type="none" w="lg" len="lg"/>
          </a:ln>
        </p:spPr>
      </p:cxnSp>
      <p:cxnSp>
        <p:nvCxnSpPr>
          <p:cNvPr id="104" name="Shape 104"/>
          <p:cNvCxnSpPr/>
          <p:nvPr/>
        </p:nvCxnSpPr>
        <p:spPr>
          <a:xfrm rot="10800000">
            <a:off x="6443983" y="4945401"/>
            <a:ext cx="776800" cy="171600"/>
          </a:xfrm>
          <a:prstGeom prst="curvedConnector3">
            <a:avLst>
              <a:gd name="adj1" fmla="val 50000"/>
            </a:avLst>
          </a:prstGeom>
          <a:noFill/>
          <a:ln w="9525" cap="flat" cmpd="sng">
            <a:solidFill>
              <a:srgbClr val="CFE2F3"/>
            </a:solidFill>
            <a:prstDash val="solid"/>
            <a:round/>
            <a:headEnd type="none" w="lg" len="lg"/>
            <a:tailEnd type="none" w="lg" len="lg"/>
          </a:ln>
        </p:spPr>
      </p:cxnSp>
      <p:cxnSp>
        <p:nvCxnSpPr>
          <p:cNvPr id="105" name="Shape 105"/>
          <p:cNvCxnSpPr/>
          <p:nvPr/>
        </p:nvCxnSpPr>
        <p:spPr>
          <a:xfrm rot="5400000" flipH="1">
            <a:off x="6725849" y="3369235"/>
            <a:ext cx="546000" cy="492400"/>
          </a:xfrm>
          <a:prstGeom prst="curvedConnector3">
            <a:avLst>
              <a:gd name="adj1" fmla="val 50000"/>
            </a:avLst>
          </a:prstGeom>
          <a:noFill/>
          <a:ln w="9525" cap="flat" cmpd="sng">
            <a:solidFill>
              <a:srgbClr val="CFE2F3"/>
            </a:solidFill>
            <a:prstDash val="solid"/>
            <a:round/>
            <a:headEnd type="none" w="lg" len="lg"/>
            <a:tailEnd type="none" w="lg" len="lg"/>
          </a:ln>
        </p:spPr>
      </p:cxnSp>
      <p:cxnSp>
        <p:nvCxnSpPr>
          <p:cNvPr id="106" name="Shape 106"/>
          <p:cNvCxnSpPr/>
          <p:nvPr/>
        </p:nvCxnSpPr>
        <p:spPr>
          <a:xfrm rot="-5400000">
            <a:off x="4395619" y="3373301"/>
            <a:ext cx="546000" cy="492400"/>
          </a:xfrm>
          <a:prstGeom prst="curvedConnector3">
            <a:avLst>
              <a:gd name="adj1" fmla="val 50000"/>
            </a:avLst>
          </a:prstGeom>
          <a:noFill/>
          <a:ln w="9525" cap="flat" cmpd="sng">
            <a:solidFill>
              <a:srgbClr val="CFE2F3"/>
            </a:solidFill>
            <a:prstDash val="solid"/>
            <a:round/>
            <a:headEnd type="none" w="lg" len="lg"/>
            <a:tailEnd type="none" w="lg" len="lg"/>
          </a:ln>
        </p:spPr>
      </p:cxnSp>
      <p:pic>
        <p:nvPicPr>
          <p:cNvPr id="107" name="Shape 107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3023100" y="3434219"/>
            <a:ext cx="1326133" cy="13261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44811600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Стрелка вниз 3"/>
          <p:cNvSpPr/>
          <p:nvPr/>
        </p:nvSpPr>
        <p:spPr>
          <a:xfrm>
            <a:off x="1365484" y="2774014"/>
            <a:ext cx="714595" cy="179029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092">
              <a:solidFill>
                <a:prstClr val="white"/>
              </a:solidFill>
            </a:endParaRPr>
          </a:p>
        </p:txBody>
      </p:sp>
      <p:sp>
        <p:nvSpPr>
          <p:cNvPr id="10" name="Стрелка вниз 9"/>
          <p:cNvSpPr/>
          <p:nvPr/>
        </p:nvSpPr>
        <p:spPr>
          <a:xfrm>
            <a:off x="5491895" y="2774014"/>
            <a:ext cx="714595" cy="179029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092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126" y="408363"/>
            <a:ext cx="11615080" cy="508583"/>
          </a:xfrm>
        </p:spPr>
        <p:txBody>
          <a:bodyPr anchor="ctr"/>
          <a:lstStyle/>
          <a:p>
            <a:pPr algn="ctr"/>
            <a:r>
              <a:rPr lang="ru-RU" dirty="0" smtClean="0"/>
              <a:t>Кто дает рекомендации по питанию в реальной практике?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43439" y="1682371"/>
            <a:ext cx="3281082" cy="15427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ru-RU" sz="2668" dirty="0">
                <a:solidFill>
                  <a:prstClr val="white"/>
                </a:solidFill>
              </a:rPr>
              <a:t>Врачи-диетолог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949734" y="1682371"/>
            <a:ext cx="3798917" cy="15427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ru-RU" sz="2668" dirty="0">
                <a:solidFill>
                  <a:prstClr val="white"/>
                </a:solidFill>
              </a:rPr>
              <a:t>Врачи других </a:t>
            </a:r>
            <a:r>
              <a:rPr lang="ru-RU" sz="2668" dirty="0" smtClean="0">
                <a:solidFill>
                  <a:prstClr val="white"/>
                </a:solidFill>
              </a:rPr>
              <a:t>специальностей</a:t>
            </a:r>
            <a:endParaRPr lang="ru-RU" sz="2668" dirty="0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8209847" y="1682371"/>
            <a:ext cx="3798917" cy="15283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ru-RU" sz="2668" dirty="0">
                <a:solidFill>
                  <a:prstClr val="white"/>
                </a:solidFill>
              </a:rPr>
              <a:t>Специалисты без высшего медицинского образования</a:t>
            </a:r>
          </a:p>
        </p:txBody>
      </p:sp>
      <p:sp>
        <p:nvSpPr>
          <p:cNvPr id="11" name="Стрелка вниз 10"/>
          <p:cNvSpPr/>
          <p:nvPr/>
        </p:nvSpPr>
        <p:spPr>
          <a:xfrm>
            <a:off x="9752008" y="3225144"/>
            <a:ext cx="714595" cy="135363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092">
              <a:solidFill>
                <a:prstClr val="white"/>
              </a:solidFill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216315" y="4607975"/>
            <a:ext cx="3012934" cy="161563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ru-RU" sz="2426" dirty="0">
                <a:solidFill>
                  <a:prstClr val="white"/>
                </a:solidFill>
              </a:rPr>
              <a:t>Их очень мало</a:t>
            </a:r>
          </a:p>
        </p:txBody>
      </p:sp>
      <p:sp>
        <p:nvSpPr>
          <p:cNvPr id="13" name="Овал 12"/>
          <p:cNvSpPr/>
          <p:nvPr/>
        </p:nvSpPr>
        <p:spPr>
          <a:xfrm>
            <a:off x="4342725" y="4615486"/>
            <a:ext cx="3012934" cy="161563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ru-RU" sz="2426" dirty="0">
                <a:solidFill>
                  <a:prstClr val="white"/>
                </a:solidFill>
              </a:rPr>
              <a:t>Диета – не их профиль, нет времени</a:t>
            </a:r>
          </a:p>
        </p:txBody>
      </p:sp>
      <p:sp>
        <p:nvSpPr>
          <p:cNvPr id="14" name="Овал 13"/>
          <p:cNvSpPr/>
          <p:nvPr/>
        </p:nvSpPr>
        <p:spPr>
          <a:xfrm>
            <a:off x="8602838" y="4638012"/>
            <a:ext cx="3012934" cy="1615631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ru-RU" sz="2426" dirty="0">
                <a:solidFill>
                  <a:prstClr val="white"/>
                </a:solidFill>
              </a:rPr>
              <a:t>Время есть, но не хватает знаний</a:t>
            </a:r>
          </a:p>
        </p:txBody>
      </p:sp>
    </p:spTree>
    <p:extLst>
      <p:ext uri="{BB962C8B-B14F-4D97-AF65-F5344CB8AC3E}">
        <p14:creationId xmlns:p14="http://schemas.microsoft.com/office/powerpoint/2010/main" val="2526364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b="22184"/>
          <a:stretch/>
        </p:blipFill>
        <p:spPr>
          <a:xfrm>
            <a:off x="4438650" y="4026598"/>
            <a:ext cx="4962525" cy="2389385"/>
          </a:xfrm>
          <a:prstGeom prst="rect">
            <a:avLst/>
          </a:prstGeom>
          <a:effectLst>
            <a:softEdge rad="190500"/>
          </a:effectLst>
        </p:spPr>
      </p:pic>
      <p:sp>
        <p:nvSpPr>
          <p:cNvPr id="11" name="Shape 66"/>
          <p:cNvSpPr txBox="1">
            <a:spLocks/>
          </p:cNvSpPr>
          <p:nvPr/>
        </p:nvSpPr>
        <p:spPr>
          <a:xfrm>
            <a:off x="360007" y="381146"/>
            <a:ext cx="11531315" cy="1037230"/>
          </a:xfrm>
          <a:prstGeom prst="rect">
            <a:avLst/>
          </a:prstGeom>
          <a:noFill/>
          <a:ln>
            <a:noFill/>
          </a:ln>
        </p:spPr>
        <p:txBody>
          <a:bodyPr lIns="121897" tIns="121897" rIns="121897" bIns="121897" anchor="t" anchorCtr="0">
            <a:noAutofit/>
          </a:bodyPr>
          <a:lstStyle/>
          <a:p>
            <a:pPr defTabSz="1219170" fontAlgn="auto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100000"/>
              <a:defRPr/>
            </a:pPr>
            <a:r>
              <a:rPr lang="ru-RU" sz="2400" kern="0" dirty="0" smtClean="0">
                <a:solidFill>
                  <a:schemeClr val="lt1"/>
                </a:solidFill>
                <a:latin typeface="Roboto Condensed"/>
                <a:ea typeface="Roboto Condensed"/>
                <a:cs typeface="Roboto Condensed"/>
                <a:sym typeface="Roboto Condensed"/>
              </a:rPr>
              <a:t>Возможно ли организовать доступную персонализированную диетологию в реальной клинической практике?</a:t>
            </a:r>
            <a:endParaRPr lang="en" sz="2400" kern="0" dirty="0">
              <a:solidFill>
                <a:schemeClr val="lt1"/>
              </a:solidFill>
              <a:latin typeface="Roboto Condensed"/>
              <a:ea typeface="Roboto Condensed"/>
              <a:cs typeface="Roboto Condensed"/>
              <a:sym typeface="Roboto Condensed"/>
            </a:endParaRPr>
          </a:p>
        </p:txBody>
      </p:sp>
      <p:sp>
        <p:nvSpPr>
          <p:cNvPr id="12" name="Shape 67"/>
          <p:cNvSpPr txBox="1"/>
          <p:nvPr/>
        </p:nvSpPr>
        <p:spPr>
          <a:xfrm>
            <a:off x="7781917" y="2940383"/>
            <a:ext cx="4410083" cy="2029671"/>
          </a:xfrm>
          <a:prstGeom prst="rect">
            <a:avLst/>
          </a:prstGeom>
          <a:noFill/>
          <a:ln>
            <a:noFill/>
          </a:ln>
        </p:spPr>
        <p:txBody>
          <a:bodyPr lIns="121897" tIns="121897" rIns="121897" bIns="121897" anchor="t" anchorCtr="0">
            <a:noAutofit/>
          </a:bodyPr>
          <a:lstStyle/>
          <a:p>
            <a:pPr marL="285750" indent="-285750">
              <a:lnSpc>
                <a:spcPct val="150000"/>
              </a:lnSpc>
              <a:spcBef>
                <a:spcPts val="0"/>
              </a:spcBef>
              <a:buClr>
                <a:schemeClr val="dk1"/>
              </a:buClr>
              <a:buSzPct val="110000"/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485C69"/>
                </a:solidFill>
                <a:latin typeface="Open Sans"/>
                <a:ea typeface="Open Sans"/>
                <a:cs typeface="Open Sans"/>
                <a:sym typeface="Open Sans"/>
              </a:rPr>
              <a:t>Необходимость </a:t>
            </a:r>
            <a:r>
              <a:rPr lang="ru-RU" sz="1600" dirty="0">
                <a:solidFill>
                  <a:srgbClr val="485C69"/>
                </a:solidFill>
                <a:latin typeface="Open Sans"/>
                <a:ea typeface="Open Sans"/>
                <a:cs typeface="Open Sans"/>
                <a:sym typeface="Open Sans"/>
              </a:rPr>
              <a:t>специальных междисциплинарных знаний </a:t>
            </a:r>
            <a:endParaRPr lang="ru-RU" sz="1600" dirty="0" smtClean="0">
              <a:solidFill>
                <a:srgbClr val="485C69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Clr>
                <a:schemeClr val="dk1"/>
              </a:buClr>
              <a:buSzPct val="110000"/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485C69"/>
                </a:solidFill>
                <a:latin typeface="Open Sans"/>
                <a:ea typeface="Open Sans"/>
                <a:cs typeface="Open Sans"/>
                <a:sym typeface="Open Sans"/>
              </a:rPr>
              <a:t>Трудоемкость проведения исследований 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Clr>
                <a:schemeClr val="dk1"/>
              </a:buClr>
              <a:buSzPct val="110000"/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485C69"/>
                </a:solidFill>
                <a:latin typeface="Open Sans"/>
                <a:ea typeface="Open Sans"/>
                <a:cs typeface="Open Sans"/>
                <a:sym typeface="Open Sans"/>
              </a:rPr>
              <a:t>Многокомпонентность анализа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Clr>
                <a:schemeClr val="dk1"/>
              </a:buClr>
              <a:buSzPct val="110000"/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485C69"/>
                </a:solidFill>
                <a:latin typeface="Open Sans"/>
                <a:ea typeface="Open Sans"/>
                <a:cs typeface="Open Sans"/>
                <a:sym typeface="Open Sans"/>
              </a:rPr>
              <a:t>Ограниченность во времени 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buClr>
                <a:schemeClr val="dk1"/>
              </a:buClr>
              <a:buSzPct val="110000"/>
              <a:buFont typeface="Arial" panose="020B0604020202020204" pitchFamily="34" charset="0"/>
              <a:buChar char="•"/>
            </a:pPr>
            <a:endParaRPr lang="en" sz="1600" dirty="0">
              <a:solidFill>
                <a:srgbClr val="485C69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13" name="Shape 6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786330" y="3115420"/>
            <a:ext cx="322467" cy="322467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Shape 7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795150" y="3844825"/>
            <a:ext cx="322467" cy="322467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Shape 7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795150" y="4194635"/>
            <a:ext cx="322467" cy="322467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Shape 7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795149" y="4605978"/>
            <a:ext cx="322467" cy="322467"/>
          </a:xfrm>
          <a:prstGeom prst="rect">
            <a:avLst/>
          </a:prstGeom>
          <a:noFill/>
          <a:ln>
            <a:noFill/>
          </a:ln>
        </p:spPr>
      </p:pic>
      <p:pic>
        <p:nvPicPr>
          <p:cNvPr id="28674" name="Picture 2" descr="http://www.terryarondberg.com/wp-content/uploads/2010/08/Thinking-doctor-1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 flipH="1">
            <a:off x="238125" y="1651027"/>
            <a:ext cx="3057525" cy="4614211"/>
          </a:xfrm>
          <a:prstGeom prst="rect">
            <a:avLst/>
          </a:prstGeom>
          <a:noFill/>
          <a:effectLst>
            <a:softEdge rad="381000"/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70160" y="1594617"/>
            <a:ext cx="1811516" cy="2561597"/>
          </a:xfrm>
          <a:prstGeom prst="rect">
            <a:avLst/>
          </a:prstGeom>
          <a:effectLst>
            <a:outerShdw blurRad="50800" dist="50800" dir="2700000" sx="102000" sy="102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Прямоугольник 3"/>
          <p:cNvSpPr/>
          <p:nvPr/>
        </p:nvSpPr>
        <p:spPr>
          <a:xfrm>
            <a:off x="8044266" y="2400190"/>
            <a:ext cx="271382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rgbClr val="485C69"/>
                </a:solidFill>
                <a:latin typeface="Open Sans"/>
                <a:ea typeface="Open Sans"/>
                <a:cs typeface="Open Sans"/>
                <a:sym typeface="Open Sans"/>
              </a:rPr>
              <a:t>Нет специалистов</a:t>
            </a:r>
          </a:p>
          <a:p>
            <a:pPr algn="ctr"/>
            <a:r>
              <a:rPr lang="ru-RU" b="1" dirty="0" smtClean="0">
                <a:solidFill>
                  <a:srgbClr val="485C69"/>
                </a:solidFill>
                <a:latin typeface="Open Sans"/>
                <a:sym typeface="Open Sans"/>
              </a:rPr>
              <a:t>Нет единых подходов</a:t>
            </a:r>
            <a:endParaRPr lang="ru-RU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690414" y="4247402"/>
            <a:ext cx="26563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485C69"/>
                </a:solidFill>
                <a:latin typeface="Open Sans"/>
                <a:ea typeface="Open Sans"/>
                <a:cs typeface="Open Sans"/>
                <a:sym typeface="Open Sans"/>
              </a:rPr>
              <a:t>Приказ МЗ РФ №920н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8351268"/>
      </p:ext>
    </p:extLst>
  </p:cSld>
  <p:clrMapOvr>
    <a:masterClrMapping/>
  </p:clrMapOvr>
  <p:transition spd="slow">
    <p:cut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28" y="1368329"/>
            <a:ext cx="12191144" cy="549871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28" y="0"/>
            <a:ext cx="12191144" cy="138420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18169" y="1878594"/>
            <a:ext cx="1296897" cy="6158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 defTabSz="554492" fontAlgn="auto">
              <a:spcBef>
                <a:spcPts val="0"/>
              </a:spcBef>
              <a:spcAft>
                <a:spcPts val="0"/>
              </a:spcAft>
            </a:pPr>
            <a:r>
              <a:rPr sz="2001" spc="-12" dirty="0">
                <a:solidFill>
                  <a:srgbClr val="4E4E4E"/>
                </a:solidFill>
                <a:latin typeface="Roboto Light"/>
                <a:cs typeface="Roboto Light"/>
              </a:rPr>
              <a:t>Простота  </a:t>
            </a:r>
            <a:r>
              <a:rPr sz="2001" spc="-3" dirty="0">
                <a:solidFill>
                  <a:srgbClr val="4E4E4E"/>
                </a:solidFill>
                <a:latin typeface="Roboto Light"/>
                <a:cs typeface="Roboto Light"/>
              </a:rPr>
              <a:t>и</a:t>
            </a:r>
            <a:r>
              <a:rPr sz="2001" spc="-52" dirty="0">
                <a:solidFill>
                  <a:srgbClr val="4E4E4E"/>
                </a:solidFill>
                <a:latin typeface="Roboto Light"/>
                <a:cs typeface="Roboto Light"/>
              </a:rPr>
              <a:t> </a:t>
            </a:r>
            <a:r>
              <a:rPr sz="2001" spc="-9" dirty="0">
                <a:solidFill>
                  <a:srgbClr val="4E4E4E"/>
                </a:solidFill>
                <a:latin typeface="Roboto Light"/>
                <a:cs typeface="Roboto Light"/>
              </a:rPr>
              <a:t>удобство</a:t>
            </a:r>
            <a:endParaRPr sz="2001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71718" y="190028"/>
            <a:ext cx="9305279" cy="10732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/>
            <a:r>
              <a:rPr lang="ru-RU" sz="3487" spc="6" dirty="0" smtClean="0"/>
              <a:t>Возможное решение – </a:t>
            </a:r>
            <a:br>
              <a:rPr lang="ru-RU" sz="3487" spc="6" dirty="0" smtClean="0"/>
            </a:br>
            <a:r>
              <a:rPr lang="ru-RU" sz="3487" spc="6" dirty="0" smtClean="0"/>
              <a:t>цифровая нутрициология</a:t>
            </a:r>
            <a:endParaRPr sz="3487" dirty="0"/>
          </a:p>
        </p:txBody>
      </p:sp>
      <p:sp>
        <p:nvSpPr>
          <p:cNvPr id="6" name="object 6"/>
          <p:cNvSpPr/>
          <p:nvPr/>
        </p:nvSpPr>
        <p:spPr>
          <a:xfrm>
            <a:off x="10381129" y="650214"/>
            <a:ext cx="119370" cy="164423"/>
          </a:xfrm>
          <a:custGeom>
            <a:avLst/>
            <a:gdLst/>
            <a:ahLst/>
            <a:cxnLst/>
            <a:rect l="l" t="t" r="r" b="b"/>
            <a:pathLst>
              <a:path w="196850" h="271144">
                <a:moveTo>
                  <a:pt x="41810" y="0"/>
                </a:moveTo>
                <a:lnTo>
                  <a:pt x="4251" y="0"/>
                </a:lnTo>
                <a:lnTo>
                  <a:pt x="0" y="4251"/>
                </a:lnTo>
                <a:lnTo>
                  <a:pt x="0" y="266777"/>
                </a:lnTo>
                <a:lnTo>
                  <a:pt x="4251" y="271038"/>
                </a:lnTo>
                <a:lnTo>
                  <a:pt x="35632" y="271038"/>
                </a:lnTo>
                <a:lnTo>
                  <a:pt x="40271" y="266777"/>
                </a:lnTo>
                <a:lnTo>
                  <a:pt x="39883" y="261353"/>
                </a:lnTo>
                <a:lnTo>
                  <a:pt x="39108" y="67369"/>
                </a:lnTo>
                <a:lnTo>
                  <a:pt x="82619" y="67369"/>
                </a:lnTo>
                <a:lnTo>
                  <a:pt x="50344" y="8523"/>
                </a:lnTo>
                <a:lnTo>
                  <a:pt x="47632" y="3476"/>
                </a:lnTo>
                <a:lnTo>
                  <a:pt x="41810" y="0"/>
                </a:lnTo>
                <a:close/>
              </a:path>
              <a:path w="196850" h="271144">
                <a:moveTo>
                  <a:pt x="82619" y="67369"/>
                </a:moveTo>
                <a:lnTo>
                  <a:pt x="39108" y="67369"/>
                </a:lnTo>
                <a:lnTo>
                  <a:pt x="145597" y="262526"/>
                </a:lnTo>
                <a:lnTo>
                  <a:pt x="148299" y="267552"/>
                </a:lnTo>
                <a:lnTo>
                  <a:pt x="154110" y="271038"/>
                </a:lnTo>
                <a:lnTo>
                  <a:pt x="192444" y="271038"/>
                </a:lnTo>
                <a:lnTo>
                  <a:pt x="196695" y="266777"/>
                </a:lnTo>
                <a:lnTo>
                  <a:pt x="196695" y="204056"/>
                </a:lnTo>
                <a:lnTo>
                  <a:pt x="157586" y="204056"/>
                </a:lnTo>
                <a:lnTo>
                  <a:pt x="82619" y="67369"/>
                </a:lnTo>
                <a:close/>
              </a:path>
              <a:path w="196850" h="271144">
                <a:moveTo>
                  <a:pt x="192444" y="0"/>
                </a:moveTo>
                <a:lnTo>
                  <a:pt x="161073" y="0"/>
                </a:lnTo>
                <a:lnTo>
                  <a:pt x="156822" y="4251"/>
                </a:lnTo>
                <a:lnTo>
                  <a:pt x="156822" y="9675"/>
                </a:lnTo>
                <a:lnTo>
                  <a:pt x="157586" y="204056"/>
                </a:lnTo>
                <a:lnTo>
                  <a:pt x="196695" y="204056"/>
                </a:lnTo>
                <a:lnTo>
                  <a:pt x="196695" y="4251"/>
                </a:lnTo>
                <a:lnTo>
                  <a:pt x="19244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0538446" y="683086"/>
            <a:ext cx="98577" cy="134002"/>
          </a:xfrm>
          <a:custGeom>
            <a:avLst/>
            <a:gdLst/>
            <a:ahLst/>
            <a:cxnLst/>
            <a:rect l="l" t="t" r="r" b="b"/>
            <a:pathLst>
              <a:path w="162559" h="220980">
                <a:moveTo>
                  <a:pt x="34082" y="0"/>
                </a:moveTo>
                <a:lnTo>
                  <a:pt x="4272" y="0"/>
                </a:lnTo>
                <a:lnTo>
                  <a:pt x="0" y="4251"/>
                </a:lnTo>
                <a:lnTo>
                  <a:pt x="0" y="147524"/>
                </a:lnTo>
                <a:lnTo>
                  <a:pt x="3448" y="179211"/>
                </a:lnTo>
                <a:lnTo>
                  <a:pt x="14811" y="202112"/>
                </a:lnTo>
                <a:lnTo>
                  <a:pt x="35613" y="216013"/>
                </a:lnTo>
                <a:lnTo>
                  <a:pt x="67380" y="220694"/>
                </a:lnTo>
                <a:lnTo>
                  <a:pt x="83700" y="218819"/>
                </a:lnTo>
                <a:lnTo>
                  <a:pt x="99226" y="213532"/>
                </a:lnTo>
                <a:lnTo>
                  <a:pt x="113446" y="205339"/>
                </a:lnTo>
                <a:lnTo>
                  <a:pt x="125849" y="194747"/>
                </a:lnTo>
                <a:lnTo>
                  <a:pt x="162246" y="194747"/>
                </a:lnTo>
                <a:lnTo>
                  <a:pt x="162246" y="187784"/>
                </a:lnTo>
                <a:lnTo>
                  <a:pt x="74730" y="187784"/>
                </a:lnTo>
                <a:lnTo>
                  <a:pt x="56636" y="185117"/>
                </a:lnTo>
                <a:lnTo>
                  <a:pt x="45507" y="176896"/>
                </a:lnTo>
                <a:lnTo>
                  <a:pt x="39893" y="162795"/>
                </a:lnTo>
                <a:lnTo>
                  <a:pt x="38344" y="142487"/>
                </a:lnTo>
                <a:lnTo>
                  <a:pt x="38344" y="4251"/>
                </a:lnTo>
                <a:lnTo>
                  <a:pt x="34082" y="0"/>
                </a:lnTo>
                <a:close/>
              </a:path>
              <a:path w="162559" h="220980">
                <a:moveTo>
                  <a:pt x="162246" y="194747"/>
                </a:moveTo>
                <a:lnTo>
                  <a:pt x="125849" y="194747"/>
                </a:lnTo>
                <a:lnTo>
                  <a:pt x="127001" y="207145"/>
                </a:lnTo>
                <a:lnTo>
                  <a:pt x="127388" y="212569"/>
                </a:lnTo>
                <a:lnTo>
                  <a:pt x="132435" y="216831"/>
                </a:lnTo>
                <a:lnTo>
                  <a:pt x="157974" y="216831"/>
                </a:lnTo>
                <a:lnTo>
                  <a:pt x="162246" y="212569"/>
                </a:lnTo>
                <a:lnTo>
                  <a:pt x="162246" y="194747"/>
                </a:lnTo>
                <a:close/>
              </a:path>
              <a:path w="162559" h="220980">
                <a:moveTo>
                  <a:pt x="157974" y="0"/>
                </a:moveTo>
                <a:lnTo>
                  <a:pt x="128174" y="0"/>
                </a:lnTo>
                <a:lnTo>
                  <a:pt x="123901" y="4251"/>
                </a:lnTo>
                <a:lnTo>
                  <a:pt x="123901" y="161461"/>
                </a:lnTo>
                <a:lnTo>
                  <a:pt x="114207" y="171290"/>
                </a:lnTo>
                <a:lnTo>
                  <a:pt x="102371" y="179703"/>
                </a:lnTo>
                <a:lnTo>
                  <a:pt x="89007" y="185577"/>
                </a:lnTo>
                <a:lnTo>
                  <a:pt x="74730" y="187784"/>
                </a:lnTo>
                <a:lnTo>
                  <a:pt x="162246" y="187784"/>
                </a:lnTo>
                <a:lnTo>
                  <a:pt x="162246" y="4251"/>
                </a:lnTo>
                <a:lnTo>
                  <a:pt x="15797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0661021" y="650217"/>
            <a:ext cx="79323" cy="167503"/>
          </a:xfrm>
          <a:custGeom>
            <a:avLst/>
            <a:gdLst/>
            <a:ahLst/>
            <a:cxnLst/>
            <a:rect l="l" t="t" r="r" b="b"/>
            <a:pathLst>
              <a:path w="130809" h="276225">
                <a:moveTo>
                  <a:pt x="61568" y="85180"/>
                </a:moveTo>
                <a:lnTo>
                  <a:pt x="23234" y="85180"/>
                </a:lnTo>
                <a:lnTo>
                  <a:pt x="23234" y="201721"/>
                </a:lnTo>
                <a:lnTo>
                  <a:pt x="27875" y="234413"/>
                </a:lnTo>
                <a:lnTo>
                  <a:pt x="41773" y="257626"/>
                </a:lnTo>
                <a:lnTo>
                  <a:pt x="64891" y="271473"/>
                </a:lnTo>
                <a:lnTo>
                  <a:pt x="97190" y="276064"/>
                </a:lnTo>
                <a:lnTo>
                  <a:pt x="104153" y="276064"/>
                </a:lnTo>
                <a:lnTo>
                  <a:pt x="112677" y="274902"/>
                </a:lnTo>
                <a:lnTo>
                  <a:pt x="120425" y="273352"/>
                </a:lnTo>
                <a:lnTo>
                  <a:pt x="125839" y="272578"/>
                </a:lnTo>
                <a:lnTo>
                  <a:pt x="130488" y="267154"/>
                </a:lnTo>
                <a:lnTo>
                  <a:pt x="130488" y="245092"/>
                </a:lnTo>
                <a:lnTo>
                  <a:pt x="129422" y="244317"/>
                </a:lnTo>
                <a:lnTo>
                  <a:pt x="101054" y="244317"/>
                </a:lnTo>
                <a:lnTo>
                  <a:pt x="83452" y="241601"/>
                </a:lnTo>
                <a:lnTo>
                  <a:pt x="71149" y="233331"/>
                </a:lnTo>
                <a:lnTo>
                  <a:pt x="63927" y="219327"/>
                </a:lnTo>
                <a:lnTo>
                  <a:pt x="61568" y="199407"/>
                </a:lnTo>
                <a:lnTo>
                  <a:pt x="61568" y="85180"/>
                </a:lnTo>
                <a:close/>
              </a:path>
              <a:path w="130809" h="276225">
                <a:moveTo>
                  <a:pt x="126226" y="241992"/>
                </a:moveTo>
                <a:lnTo>
                  <a:pt x="121200" y="242767"/>
                </a:lnTo>
                <a:lnTo>
                  <a:pt x="114226" y="243929"/>
                </a:lnTo>
                <a:lnTo>
                  <a:pt x="107253" y="244317"/>
                </a:lnTo>
                <a:lnTo>
                  <a:pt x="129422" y="244317"/>
                </a:lnTo>
                <a:lnTo>
                  <a:pt x="126226" y="241992"/>
                </a:lnTo>
                <a:close/>
              </a:path>
              <a:path w="130809" h="276225">
                <a:moveTo>
                  <a:pt x="119650" y="54207"/>
                </a:moveTo>
                <a:lnTo>
                  <a:pt x="4649" y="54207"/>
                </a:lnTo>
                <a:lnTo>
                  <a:pt x="0" y="58458"/>
                </a:lnTo>
                <a:lnTo>
                  <a:pt x="0" y="80919"/>
                </a:lnTo>
                <a:lnTo>
                  <a:pt x="4649" y="85180"/>
                </a:lnTo>
                <a:lnTo>
                  <a:pt x="119650" y="85180"/>
                </a:lnTo>
                <a:lnTo>
                  <a:pt x="124289" y="80919"/>
                </a:lnTo>
                <a:lnTo>
                  <a:pt x="124289" y="58458"/>
                </a:lnTo>
                <a:lnTo>
                  <a:pt x="119650" y="54207"/>
                </a:lnTo>
                <a:close/>
              </a:path>
              <a:path w="130809" h="276225">
                <a:moveTo>
                  <a:pt x="57307" y="0"/>
                </a:moveTo>
                <a:lnTo>
                  <a:pt x="32522" y="0"/>
                </a:lnTo>
                <a:lnTo>
                  <a:pt x="27883" y="4251"/>
                </a:lnTo>
                <a:lnTo>
                  <a:pt x="27496" y="9675"/>
                </a:lnTo>
                <a:lnTo>
                  <a:pt x="24009" y="54207"/>
                </a:lnTo>
                <a:lnTo>
                  <a:pt x="61568" y="54207"/>
                </a:lnTo>
                <a:lnTo>
                  <a:pt x="61568" y="4251"/>
                </a:lnTo>
                <a:lnTo>
                  <a:pt x="5730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10769509" y="680972"/>
            <a:ext cx="58530" cy="133617"/>
          </a:xfrm>
          <a:custGeom>
            <a:avLst/>
            <a:gdLst/>
            <a:ahLst/>
            <a:cxnLst/>
            <a:rect l="l" t="t" r="r" b="b"/>
            <a:pathLst>
              <a:path w="96519" h="220344">
                <a:moveTo>
                  <a:pt x="29025" y="3486"/>
                </a:moveTo>
                <a:lnTo>
                  <a:pt x="4251" y="3486"/>
                </a:lnTo>
                <a:lnTo>
                  <a:pt x="0" y="7737"/>
                </a:lnTo>
                <a:lnTo>
                  <a:pt x="0" y="216056"/>
                </a:lnTo>
                <a:lnTo>
                  <a:pt x="4251" y="220317"/>
                </a:lnTo>
                <a:lnTo>
                  <a:pt x="34072" y="220317"/>
                </a:lnTo>
                <a:lnTo>
                  <a:pt x="38323" y="216056"/>
                </a:lnTo>
                <a:lnTo>
                  <a:pt x="38323" y="63495"/>
                </a:lnTo>
                <a:lnTo>
                  <a:pt x="48078" y="51384"/>
                </a:lnTo>
                <a:lnTo>
                  <a:pt x="60588" y="42104"/>
                </a:lnTo>
                <a:lnTo>
                  <a:pt x="74259" y="36164"/>
                </a:lnTo>
                <a:lnTo>
                  <a:pt x="87494" y="34072"/>
                </a:lnTo>
                <a:lnTo>
                  <a:pt x="92531" y="34072"/>
                </a:lnTo>
                <a:lnTo>
                  <a:pt x="96018" y="30972"/>
                </a:lnTo>
                <a:lnTo>
                  <a:pt x="96018" y="29821"/>
                </a:lnTo>
                <a:lnTo>
                  <a:pt x="36386" y="29821"/>
                </a:lnTo>
                <a:lnTo>
                  <a:pt x="34836" y="13161"/>
                </a:lnTo>
                <a:lnTo>
                  <a:pt x="34072" y="7737"/>
                </a:lnTo>
                <a:lnTo>
                  <a:pt x="29025" y="3486"/>
                </a:lnTo>
                <a:close/>
              </a:path>
              <a:path w="96519" h="220344">
                <a:moveTo>
                  <a:pt x="92531" y="0"/>
                </a:moveTo>
                <a:lnTo>
                  <a:pt x="87107" y="0"/>
                </a:lnTo>
                <a:lnTo>
                  <a:pt x="74663" y="2153"/>
                </a:lnTo>
                <a:lnTo>
                  <a:pt x="60439" y="8227"/>
                </a:lnTo>
                <a:lnTo>
                  <a:pt x="46869" y="17643"/>
                </a:lnTo>
                <a:lnTo>
                  <a:pt x="36386" y="29821"/>
                </a:lnTo>
                <a:lnTo>
                  <a:pt x="96018" y="29821"/>
                </a:lnTo>
                <a:lnTo>
                  <a:pt x="96018" y="3099"/>
                </a:lnTo>
                <a:lnTo>
                  <a:pt x="9253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10853097" y="638470"/>
            <a:ext cx="28495" cy="176360"/>
          </a:xfrm>
          <a:custGeom>
            <a:avLst/>
            <a:gdLst/>
            <a:ahLst/>
            <a:cxnLst/>
            <a:rect l="l" t="t" r="r" b="b"/>
            <a:pathLst>
              <a:path w="46990" h="290830">
                <a:moveTo>
                  <a:pt x="22847" y="0"/>
                </a:moveTo>
                <a:lnTo>
                  <a:pt x="13557" y="1349"/>
                </a:lnTo>
                <a:lnTo>
                  <a:pt x="6338" y="5567"/>
                </a:lnTo>
                <a:lnTo>
                  <a:pt x="1663" y="12907"/>
                </a:lnTo>
                <a:lnTo>
                  <a:pt x="0" y="23622"/>
                </a:lnTo>
                <a:lnTo>
                  <a:pt x="1663" y="33832"/>
                </a:lnTo>
                <a:lnTo>
                  <a:pt x="6338" y="40808"/>
                </a:lnTo>
                <a:lnTo>
                  <a:pt x="13557" y="44806"/>
                </a:lnTo>
                <a:lnTo>
                  <a:pt x="22847" y="46082"/>
                </a:lnTo>
                <a:lnTo>
                  <a:pt x="32640" y="44806"/>
                </a:lnTo>
                <a:lnTo>
                  <a:pt x="40218" y="40808"/>
                </a:lnTo>
                <a:lnTo>
                  <a:pt x="45111" y="33832"/>
                </a:lnTo>
                <a:lnTo>
                  <a:pt x="46846" y="23622"/>
                </a:lnTo>
                <a:lnTo>
                  <a:pt x="45111" y="12907"/>
                </a:lnTo>
                <a:lnTo>
                  <a:pt x="40218" y="5567"/>
                </a:lnTo>
                <a:lnTo>
                  <a:pt x="32640" y="1349"/>
                </a:lnTo>
                <a:lnTo>
                  <a:pt x="22847" y="0"/>
                </a:lnTo>
                <a:close/>
              </a:path>
              <a:path w="46990" h="290830">
                <a:moveTo>
                  <a:pt x="38721" y="73578"/>
                </a:moveTo>
                <a:lnTo>
                  <a:pt x="8910" y="73578"/>
                </a:lnTo>
                <a:lnTo>
                  <a:pt x="4649" y="77830"/>
                </a:lnTo>
                <a:lnTo>
                  <a:pt x="4649" y="286137"/>
                </a:lnTo>
                <a:lnTo>
                  <a:pt x="8910" y="290410"/>
                </a:lnTo>
                <a:lnTo>
                  <a:pt x="38721" y="290410"/>
                </a:lnTo>
                <a:lnTo>
                  <a:pt x="42982" y="286137"/>
                </a:lnTo>
                <a:lnTo>
                  <a:pt x="42982" y="77830"/>
                </a:lnTo>
                <a:lnTo>
                  <a:pt x="38721" y="7357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0918848" y="638473"/>
            <a:ext cx="23489" cy="176360"/>
          </a:xfrm>
          <a:custGeom>
            <a:avLst/>
            <a:gdLst/>
            <a:ahLst/>
            <a:cxnLst/>
            <a:rect l="l" t="t" r="r" b="b"/>
            <a:pathLst>
              <a:path w="38734" h="290830">
                <a:moveTo>
                  <a:pt x="34072" y="0"/>
                </a:moveTo>
                <a:lnTo>
                  <a:pt x="4261" y="0"/>
                </a:lnTo>
                <a:lnTo>
                  <a:pt x="0" y="4261"/>
                </a:lnTo>
                <a:lnTo>
                  <a:pt x="0" y="286137"/>
                </a:lnTo>
                <a:lnTo>
                  <a:pt x="4261" y="290399"/>
                </a:lnTo>
                <a:lnTo>
                  <a:pt x="34072" y="290399"/>
                </a:lnTo>
                <a:lnTo>
                  <a:pt x="38333" y="286137"/>
                </a:lnTo>
                <a:lnTo>
                  <a:pt x="38333" y="4261"/>
                </a:lnTo>
                <a:lnTo>
                  <a:pt x="3407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0977080" y="680736"/>
            <a:ext cx="102427" cy="136313"/>
          </a:xfrm>
          <a:custGeom>
            <a:avLst/>
            <a:gdLst/>
            <a:ahLst/>
            <a:cxnLst/>
            <a:rect l="l" t="t" r="r" b="b"/>
            <a:pathLst>
              <a:path w="168909" h="224790">
                <a:moveTo>
                  <a:pt x="84416" y="0"/>
                </a:moveTo>
                <a:lnTo>
                  <a:pt x="49333" y="5500"/>
                </a:lnTo>
                <a:lnTo>
                  <a:pt x="22747" y="21346"/>
                </a:lnTo>
                <a:lnTo>
                  <a:pt x="5892" y="46555"/>
                </a:lnTo>
                <a:lnTo>
                  <a:pt x="0" y="80144"/>
                </a:lnTo>
                <a:lnTo>
                  <a:pt x="0" y="144424"/>
                </a:lnTo>
                <a:lnTo>
                  <a:pt x="5892" y="178018"/>
                </a:lnTo>
                <a:lnTo>
                  <a:pt x="22747" y="203226"/>
                </a:lnTo>
                <a:lnTo>
                  <a:pt x="49333" y="219070"/>
                </a:lnTo>
                <a:lnTo>
                  <a:pt x="84416" y="224569"/>
                </a:lnTo>
                <a:lnTo>
                  <a:pt x="119651" y="219070"/>
                </a:lnTo>
                <a:lnTo>
                  <a:pt x="146216" y="203226"/>
                </a:lnTo>
                <a:lnTo>
                  <a:pt x="153388" y="192444"/>
                </a:lnTo>
                <a:lnTo>
                  <a:pt x="84416" y="192444"/>
                </a:lnTo>
                <a:lnTo>
                  <a:pt x="64798" y="189060"/>
                </a:lnTo>
                <a:lnTo>
                  <a:pt x="50337" y="179032"/>
                </a:lnTo>
                <a:lnTo>
                  <a:pt x="41395" y="162542"/>
                </a:lnTo>
                <a:lnTo>
                  <a:pt x="38333" y="139775"/>
                </a:lnTo>
                <a:lnTo>
                  <a:pt x="38333" y="84793"/>
                </a:lnTo>
                <a:lnTo>
                  <a:pt x="41395" y="62027"/>
                </a:lnTo>
                <a:lnTo>
                  <a:pt x="50337" y="45541"/>
                </a:lnTo>
                <a:lnTo>
                  <a:pt x="64798" y="35517"/>
                </a:lnTo>
                <a:lnTo>
                  <a:pt x="84416" y="32135"/>
                </a:lnTo>
                <a:lnTo>
                  <a:pt x="153392" y="32135"/>
                </a:lnTo>
                <a:lnTo>
                  <a:pt x="146216" y="21346"/>
                </a:lnTo>
                <a:lnTo>
                  <a:pt x="119651" y="5500"/>
                </a:lnTo>
                <a:lnTo>
                  <a:pt x="84416" y="0"/>
                </a:lnTo>
                <a:close/>
              </a:path>
              <a:path w="168909" h="224790">
                <a:moveTo>
                  <a:pt x="153392" y="32135"/>
                </a:moveTo>
                <a:lnTo>
                  <a:pt x="84416" y="32135"/>
                </a:lnTo>
                <a:lnTo>
                  <a:pt x="104189" y="35517"/>
                </a:lnTo>
                <a:lnTo>
                  <a:pt x="118625" y="45541"/>
                </a:lnTo>
                <a:lnTo>
                  <a:pt x="127472" y="62027"/>
                </a:lnTo>
                <a:lnTo>
                  <a:pt x="130477" y="84793"/>
                </a:lnTo>
                <a:lnTo>
                  <a:pt x="130477" y="139775"/>
                </a:lnTo>
                <a:lnTo>
                  <a:pt x="127472" y="162542"/>
                </a:lnTo>
                <a:lnTo>
                  <a:pt x="118625" y="179032"/>
                </a:lnTo>
                <a:lnTo>
                  <a:pt x="104189" y="189060"/>
                </a:lnTo>
                <a:lnTo>
                  <a:pt x="84416" y="192444"/>
                </a:lnTo>
                <a:lnTo>
                  <a:pt x="153388" y="192444"/>
                </a:lnTo>
                <a:lnTo>
                  <a:pt x="162982" y="178018"/>
                </a:lnTo>
                <a:lnTo>
                  <a:pt x="168822" y="144424"/>
                </a:lnTo>
                <a:lnTo>
                  <a:pt x="168822" y="80144"/>
                </a:lnTo>
                <a:lnTo>
                  <a:pt x="162982" y="46555"/>
                </a:lnTo>
                <a:lnTo>
                  <a:pt x="153392" y="3213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1104808" y="665477"/>
            <a:ext cx="100502" cy="186756"/>
          </a:xfrm>
          <a:custGeom>
            <a:avLst/>
            <a:gdLst/>
            <a:ahLst/>
            <a:cxnLst/>
            <a:rect l="l" t="t" r="r" b="b"/>
            <a:pathLst>
              <a:path w="165734" h="307975">
                <a:moveTo>
                  <a:pt x="23213" y="260745"/>
                </a:moveTo>
                <a:lnTo>
                  <a:pt x="17245" y="261552"/>
                </a:lnTo>
                <a:lnTo>
                  <a:pt x="2240" y="281279"/>
                </a:lnTo>
                <a:lnTo>
                  <a:pt x="2806" y="287551"/>
                </a:lnTo>
                <a:lnTo>
                  <a:pt x="6889" y="291142"/>
                </a:lnTo>
                <a:lnTo>
                  <a:pt x="9905" y="293833"/>
                </a:lnTo>
                <a:lnTo>
                  <a:pt x="20173" y="299945"/>
                </a:lnTo>
                <a:lnTo>
                  <a:pt x="32277" y="304314"/>
                </a:lnTo>
                <a:lnTo>
                  <a:pt x="46111" y="306937"/>
                </a:lnTo>
                <a:lnTo>
                  <a:pt x="61568" y="307812"/>
                </a:lnTo>
                <a:lnTo>
                  <a:pt x="93316" y="307812"/>
                </a:lnTo>
                <a:lnTo>
                  <a:pt x="123356" y="304043"/>
                </a:lnTo>
                <a:lnTo>
                  <a:pt x="146025" y="292760"/>
                </a:lnTo>
                <a:lnTo>
                  <a:pt x="157283" y="278012"/>
                </a:lnTo>
                <a:lnTo>
                  <a:pt x="65055" y="278012"/>
                </a:lnTo>
                <a:lnTo>
                  <a:pt x="54091" y="277274"/>
                </a:lnTo>
                <a:lnTo>
                  <a:pt x="45138" y="274879"/>
                </a:lnTo>
                <a:lnTo>
                  <a:pt x="36765" y="270555"/>
                </a:lnTo>
                <a:lnTo>
                  <a:pt x="27538" y="264033"/>
                </a:lnTo>
                <a:lnTo>
                  <a:pt x="23213" y="260745"/>
                </a:lnTo>
                <a:close/>
              </a:path>
              <a:path w="165734" h="307975">
                <a:moveTo>
                  <a:pt x="73568" y="25161"/>
                </a:moveTo>
                <a:lnTo>
                  <a:pt x="43122" y="29905"/>
                </a:lnTo>
                <a:lnTo>
                  <a:pt x="19939" y="42781"/>
                </a:lnTo>
                <a:lnTo>
                  <a:pt x="5178" y="61755"/>
                </a:lnTo>
                <a:lnTo>
                  <a:pt x="0" y="84793"/>
                </a:lnTo>
                <a:lnTo>
                  <a:pt x="0" y="109577"/>
                </a:lnTo>
                <a:lnTo>
                  <a:pt x="1542" y="121271"/>
                </a:lnTo>
                <a:lnTo>
                  <a:pt x="5951" y="132566"/>
                </a:lnTo>
                <a:lnTo>
                  <a:pt x="12903" y="142628"/>
                </a:lnTo>
                <a:lnTo>
                  <a:pt x="22072" y="150623"/>
                </a:lnTo>
                <a:lnTo>
                  <a:pt x="18228" y="156864"/>
                </a:lnTo>
                <a:lnTo>
                  <a:pt x="15438" y="163398"/>
                </a:lnTo>
                <a:lnTo>
                  <a:pt x="13736" y="170222"/>
                </a:lnTo>
                <a:lnTo>
                  <a:pt x="13161" y="177334"/>
                </a:lnTo>
                <a:lnTo>
                  <a:pt x="13161" y="185083"/>
                </a:lnTo>
                <a:lnTo>
                  <a:pt x="38562" y="216429"/>
                </a:lnTo>
                <a:lnTo>
                  <a:pt x="65055" y="220317"/>
                </a:lnTo>
                <a:lnTo>
                  <a:pt x="89442" y="220317"/>
                </a:lnTo>
                <a:lnTo>
                  <a:pt x="106093" y="221908"/>
                </a:lnTo>
                <a:lnTo>
                  <a:pt x="117806" y="226945"/>
                </a:lnTo>
                <a:lnTo>
                  <a:pt x="124727" y="235831"/>
                </a:lnTo>
                <a:lnTo>
                  <a:pt x="127001" y="248966"/>
                </a:lnTo>
                <a:lnTo>
                  <a:pt x="124727" y="262162"/>
                </a:lnTo>
                <a:lnTo>
                  <a:pt x="117806" y="271185"/>
                </a:lnTo>
                <a:lnTo>
                  <a:pt x="106093" y="276360"/>
                </a:lnTo>
                <a:lnTo>
                  <a:pt x="89442" y="278012"/>
                </a:lnTo>
                <a:lnTo>
                  <a:pt x="157283" y="278012"/>
                </a:lnTo>
                <a:lnTo>
                  <a:pt x="160344" y="274001"/>
                </a:lnTo>
                <a:lnTo>
                  <a:pt x="165335" y="247803"/>
                </a:lnTo>
                <a:lnTo>
                  <a:pt x="160555" y="223452"/>
                </a:lnTo>
                <a:lnTo>
                  <a:pt x="146845" y="205743"/>
                </a:lnTo>
                <a:lnTo>
                  <a:pt x="125150" y="194932"/>
                </a:lnTo>
                <a:lnTo>
                  <a:pt x="102580" y="192056"/>
                </a:lnTo>
                <a:lnTo>
                  <a:pt x="53432" y="192056"/>
                </a:lnTo>
                <a:lnTo>
                  <a:pt x="50333" y="188172"/>
                </a:lnTo>
                <a:lnTo>
                  <a:pt x="48019" y="183146"/>
                </a:lnTo>
                <a:lnTo>
                  <a:pt x="48019" y="171534"/>
                </a:lnTo>
                <a:lnTo>
                  <a:pt x="50333" y="166874"/>
                </a:lnTo>
                <a:lnTo>
                  <a:pt x="53820" y="163775"/>
                </a:lnTo>
                <a:lnTo>
                  <a:pt x="90341" y="163775"/>
                </a:lnTo>
                <a:lnTo>
                  <a:pt x="105376" y="161469"/>
                </a:lnTo>
                <a:lnTo>
                  <a:pt x="128157" y="149022"/>
                </a:lnTo>
                <a:lnTo>
                  <a:pt x="137979" y="136686"/>
                </a:lnTo>
                <a:lnTo>
                  <a:pt x="73568" y="136686"/>
                </a:lnTo>
                <a:lnTo>
                  <a:pt x="58630" y="134392"/>
                </a:lnTo>
                <a:lnTo>
                  <a:pt x="47286" y="127922"/>
                </a:lnTo>
                <a:lnTo>
                  <a:pt x="40081" y="117895"/>
                </a:lnTo>
                <a:lnTo>
                  <a:pt x="37559" y="104928"/>
                </a:lnTo>
                <a:lnTo>
                  <a:pt x="37559" y="87117"/>
                </a:lnTo>
                <a:lnTo>
                  <a:pt x="40081" y="74213"/>
                </a:lnTo>
                <a:lnTo>
                  <a:pt x="47286" y="64322"/>
                </a:lnTo>
                <a:lnTo>
                  <a:pt x="58630" y="57989"/>
                </a:lnTo>
                <a:lnTo>
                  <a:pt x="73568" y="55757"/>
                </a:lnTo>
                <a:lnTo>
                  <a:pt x="143748" y="55757"/>
                </a:lnTo>
                <a:lnTo>
                  <a:pt x="150352" y="50274"/>
                </a:lnTo>
                <a:lnTo>
                  <a:pt x="157830" y="40654"/>
                </a:lnTo>
                <a:lnTo>
                  <a:pt x="159638" y="36386"/>
                </a:lnTo>
                <a:lnTo>
                  <a:pt x="118101" y="36386"/>
                </a:lnTo>
                <a:lnTo>
                  <a:pt x="109016" y="31858"/>
                </a:lnTo>
                <a:lnTo>
                  <a:pt x="98300" y="28308"/>
                </a:lnTo>
                <a:lnTo>
                  <a:pt x="86351" y="25990"/>
                </a:lnTo>
                <a:lnTo>
                  <a:pt x="73568" y="25161"/>
                </a:lnTo>
                <a:close/>
              </a:path>
              <a:path w="165734" h="307975">
                <a:moveTo>
                  <a:pt x="96415" y="191271"/>
                </a:moveTo>
                <a:lnTo>
                  <a:pt x="61956" y="191271"/>
                </a:lnTo>
                <a:lnTo>
                  <a:pt x="57307" y="191659"/>
                </a:lnTo>
                <a:lnTo>
                  <a:pt x="53432" y="192056"/>
                </a:lnTo>
                <a:lnTo>
                  <a:pt x="102580" y="192056"/>
                </a:lnTo>
                <a:lnTo>
                  <a:pt x="96415" y="191271"/>
                </a:lnTo>
                <a:close/>
              </a:path>
              <a:path w="165734" h="307975">
                <a:moveTo>
                  <a:pt x="90341" y="163775"/>
                </a:moveTo>
                <a:lnTo>
                  <a:pt x="53820" y="163775"/>
                </a:lnTo>
                <a:lnTo>
                  <a:pt x="60019" y="165335"/>
                </a:lnTo>
                <a:lnTo>
                  <a:pt x="67757" y="166110"/>
                </a:lnTo>
                <a:lnTo>
                  <a:pt x="75118" y="166110"/>
                </a:lnTo>
                <a:lnTo>
                  <a:pt x="90341" y="163775"/>
                </a:lnTo>
                <a:close/>
              </a:path>
              <a:path w="165734" h="307975">
                <a:moveTo>
                  <a:pt x="143748" y="55757"/>
                </a:moveTo>
                <a:lnTo>
                  <a:pt x="73568" y="55757"/>
                </a:lnTo>
                <a:lnTo>
                  <a:pt x="88730" y="57989"/>
                </a:lnTo>
                <a:lnTo>
                  <a:pt x="100189" y="64322"/>
                </a:lnTo>
                <a:lnTo>
                  <a:pt x="107436" y="74213"/>
                </a:lnTo>
                <a:lnTo>
                  <a:pt x="109965" y="87117"/>
                </a:lnTo>
                <a:lnTo>
                  <a:pt x="109965" y="104928"/>
                </a:lnTo>
                <a:lnTo>
                  <a:pt x="107436" y="117895"/>
                </a:lnTo>
                <a:lnTo>
                  <a:pt x="100189" y="127922"/>
                </a:lnTo>
                <a:lnTo>
                  <a:pt x="88730" y="134392"/>
                </a:lnTo>
                <a:lnTo>
                  <a:pt x="73568" y="136686"/>
                </a:lnTo>
                <a:lnTo>
                  <a:pt x="137979" y="136686"/>
                </a:lnTo>
                <a:lnTo>
                  <a:pt x="142517" y="130987"/>
                </a:lnTo>
                <a:lnTo>
                  <a:pt x="147513" y="109577"/>
                </a:lnTo>
                <a:lnTo>
                  <a:pt x="147513" y="84793"/>
                </a:lnTo>
                <a:lnTo>
                  <a:pt x="147085" y="78116"/>
                </a:lnTo>
                <a:lnTo>
                  <a:pt x="145825" y="71147"/>
                </a:lnTo>
                <a:lnTo>
                  <a:pt x="143767" y="64322"/>
                </a:lnTo>
                <a:lnTo>
                  <a:pt x="140948" y="58082"/>
                </a:lnTo>
                <a:lnTo>
                  <a:pt x="143748" y="55757"/>
                </a:lnTo>
                <a:close/>
              </a:path>
              <a:path w="165734" h="307975">
                <a:moveTo>
                  <a:pt x="160298" y="0"/>
                </a:moveTo>
                <a:lnTo>
                  <a:pt x="132812" y="0"/>
                </a:lnTo>
                <a:lnTo>
                  <a:pt x="129713" y="2711"/>
                </a:lnTo>
                <a:lnTo>
                  <a:pt x="129713" y="10062"/>
                </a:lnTo>
                <a:lnTo>
                  <a:pt x="128987" y="18422"/>
                </a:lnTo>
                <a:lnTo>
                  <a:pt x="126808" y="25548"/>
                </a:lnTo>
                <a:lnTo>
                  <a:pt x="123179" y="31513"/>
                </a:lnTo>
                <a:lnTo>
                  <a:pt x="118101" y="36386"/>
                </a:lnTo>
                <a:lnTo>
                  <a:pt x="159638" y="36386"/>
                </a:lnTo>
                <a:lnTo>
                  <a:pt x="162767" y="29002"/>
                </a:lnTo>
                <a:lnTo>
                  <a:pt x="164549" y="15099"/>
                </a:lnTo>
                <a:lnTo>
                  <a:pt x="164549" y="13161"/>
                </a:lnTo>
                <a:lnTo>
                  <a:pt x="164173" y="8900"/>
                </a:lnTo>
                <a:lnTo>
                  <a:pt x="163785" y="7737"/>
                </a:lnTo>
                <a:lnTo>
                  <a:pt x="163398" y="3099"/>
                </a:lnTo>
                <a:lnTo>
                  <a:pt x="16029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1228551" y="638470"/>
            <a:ext cx="28495" cy="176360"/>
          </a:xfrm>
          <a:custGeom>
            <a:avLst/>
            <a:gdLst/>
            <a:ahLst/>
            <a:cxnLst/>
            <a:rect l="l" t="t" r="r" b="b"/>
            <a:pathLst>
              <a:path w="46990" h="290830">
                <a:moveTo>
                  <a:pt x="22847" y="0"/>
                </a:moveTo>
                <a:lnTo>
                  <a:pt x="13557" y="1349"/>
                </a:lnTo>
                <a:lnTo>
                  <a:pt x="6338" y="5567"/>
                </a:lnTo>
                <a:lnTo>
                  <a:pt x="1663" y="12907"/>
                </a:lnTo>
                <a:lnTo>
                  <a:pt x="0" y="23622"/>
                </a:lnTo>
                <a:lnTo>
                  <a:pt x="1663" y="33832"/>
                </a:lnTo>
                <a:lnTo>
                  <a:pt x="6338" y="40808"/>
                </a:lnTo>
                <a:lnTo>
                  <a:pt x="13557" y="44806"/>
                </a:lnTo>
                <a:lnTo>
                  <a:pt x="22847" y="46082"/>
                </a:lnTo>
                <a:lnTo>
                  <a:pt x="32640" y="44806"/>
                </a:lnTo>
                <a:lnTo>
                  <a:pt x="40218" y="40808"/>
                </a:lnTo>
                <a:lnTo>
                  <a:pt x="45111" y="33832"/>
                </a:lnTo>
                <a:lnTo>
                  <a:pt x="46846" y="23622"/>
                </a:lnTo>
                <a:lnTo>
                  <a:pt x="45111" y="12907"/>
                </a:lnTo>
                <a:lnTo>
                  <a:pt x="40218" y="5567"/>
                </a:lnTo>
                <a:lnTo>
                  <a:pt x="32640" y="1349"/>
                </a:lnTo>
                <a:lnTo>
                  <a:pt x="22847" y="0"/>
                </a:lnTo>
                <a:close/>
              </a:path>
              <a:path w="46990" h="290830">
                <a:moveTo>
                  <a:pt x="38721" y="73578"/>
                </a:moveTo>
                <a:lnTo>
                  <a:pt x="8910" y="73578"/>
                </a:lnTo>
                <a:lnTo>
                  <a:pt x="4649" y="77830"/>
                </a:lnTo>
                <a:lnTo>
                  <a:pt x="4649" y="286137"/>
                </a:lnTo>
                <a:lnTo>
                  <a:pt x="8910" y="290410"/>
                </a:lnTo>
                <a:lnTo>
                  <a:pt x="38721" y="290410"/>
                </a:lnTo>
                <a:lnTo>
                  <a:pt x="42982" y="286137"/>
                </a:lnTo>
                <a:lnTo>
                  <a:pt x="42982" y="77830"/>
                </a:lnTo>
                <a:lnTo>
                  <a:pt x="38721" y="7357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11291478" y="680736"/>
            <a:ext cx="102042" cy="136313"/>
          </a:xfrm>
          <a:custGeom>
            <a:avLst/>
            <a:gdLst/>
            <a:ahLst/>
            <a:cxnLst/>
            <a:rect l="l" t="t" r="r" b="b"/>
            <a:pathLst>
              <a:path w="168275" h="224790">
                <a:moveTo>
                  <a:pt x="84416" y="0"/>
                </a:moveTo>
                <a:lnTo>
                  <a:pt x="49337" y="5500"/>
                </a:lnTo>
                <a:lnTo>
                  <a:pt x="22751" y="21346"/>
                </a:lnTo>
                <a:lnTo>
                  <a:pt x="5893" y="46555"/>
                </a:lnTo>
                <a:lnTo>
                  <a:pt x="0" y="80144"/>
                </a:lnTo>
                <a:lnTo>
                  <a:pt x="0" y="144424"/>
                </a:lnTo>
                <a:lnTo>
                  <a:pt x="5893" y="178018"/>
                </a:lnTo>
                <a:lnTo>
                  <a:pt x="22751" y="203226"/>
                </a:lnTo>
                <a:lnTo>
                  <a:pt x="49337" y="219070"/>
                </a:lnTo>
                <a:lnTo>
                  <a:pt x="84416" y="224569"/>
                </a:lnTo>
                <a:lnTo>
                  <a:pt x="120046" y="219070"/>
                </a:lnTo>
                <a:lnTo>
                  <a:pt x="146269" y="204194"/>
                </a:lnTo>
                <a:lnTo>
                  <a:pt x="155248" y="192056"/>
                </a:lnTo>
                <a:lnTo>
                  <a:pt x="84416" y="192056"/>
                </a:lnTo>
                <a:lnTo>
                  <a:pt x="64798" y="188733"/>
                </a:lnTo>
                <a:lnTo>
                  <a:pt x="50337" y="178838"/>
                </a:lnTo>
                <a:lnTo>
                  <a:pt x="41395" y="162482"/>
                </a:lnTo>
                <a:lnTo>
                  <a:pt x="38333" y="139775"/>
                </a:lnTo>
                <a:lnTo>
                  <a:pt x="38333" y="84793"/>
                </a:lnTo>
                <a:lnTo>
                  <a:pt x="41395" y="62088"/>
                </a:lnTo>
                <a:lnTo>
                  <a:pt x="50337" y="45735"/>
                </a:lnTo>
                <a:lnTo>
                  <a:pt x="64798" y="35843"/>
                </a:lnTo>
                <a:lnTo>
                  <a:pt x="84416" y="32522"/>
                </a:lnTo>
                <a:lnTo>
                  <a:pt x="155833" y="32522"/>
                </a:lnTo>
                <a:lnTo>
                  <a:pt x="146269" y="19648"/>
                </a:lnTo>
                <a:lnTo>
                  <a:pt x="120025" y="5214"/>
                </a:lnTo>
                <a:lnTo>
                  <a:pt x="84416" y="0"/>
                </a:lnTo>
                <a:close/>
              </a:path>
              <a:path w="168275" h="224790">
                <a:moveTo>
                  <a:pt x="163796" y="146362"/>
                </a:moveTo>
                <a:lnTo>
                  <a:pt x="133200" y="146362"/>
                </a:lnTo>
                <a:lnTo>
                  <a:pt x="129723" y="149838"/>
                </a:lnTo>
                <a:lnTo>
                  <a:pt x="129723" y="155649"/>
                </a:lnTo>
                <a:lnTo>
                  <a:pt x="127054" y="169673"/>
                </a:lnTo>
                <a:lnTo>
                  <a:pt x="118830" y="181262"/>
                </a:lnTo>
                <a:lnTo>
                  <a:pt x="104725" y="189146"/>
                </a:lnTo>
                <a:lnTo>
                  <a:pt x="84416" y="192056"/>
                </a:lnTo>
                <a:lnTo>
                  <a:pt x="155248" y="192056"/>
                </a:lnTo>
                <a:lnTo>
                  <a:pt x="162493" y="182263"/>
                </a:lnTo>
                <a:lnTo>
                  <a:pt x="168047" y="155649"/>
                </a:lnTo>
                <a:lnTo>
                  <a:pt x="168047" y="150225"/>
                </a:lnTo>
                <a:lnTo>
                  <a:pt x="163796" y="146362"/>
                </a:lnTo>
                <a:close/>
              </a:path>
              <a:path w="168275" h="224790">
                <a:moveTo>
                  <a:pt x="155833" y="32522"/>
                </a:moveTo>
                <a:lnTo>
                  <a:pt x="84416" y="32522"/>
                </a:lnTo>
                <a:lnTo>
                  <a:pt x="104235" y="35331"/>
                </a:lnTo>
                <a:lnTo>
                  <a:pt x="118394" y="43077"/>
                </a:lnTo>
                <a:lnTo>
                  <a:pt x="126891" y="54742"/>
                </a:lnTo>
                <a:lnTo>
                  <a:pt x="129648" y="68919"/>
                </a:lnTo>
                <a:lnTo>
                  <a:pt x="129723" y="74720"/>
                </a:lnTo>
                <a:lnTo>
                  <a:pt x="133200" y="78604"/>
                </a:lnTo>
                <a:lnTo>
                  <a:pt x="164173" y="78604"/>
                </a:lnTo>
                <a:lnTo>
                  <a:pt x="168047" y="74720"/>
                </a:lnTo>
                <a:lnTo>
                  <a:pt x="168047" y="68919"/>
                </a:lnTo>
                <a:lnTo>
                  <a:pt x="162493" y="41488"/>
                </a:lnTo>
                <a:lnTo>
                  <a:pt x="155833" y="3252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9804140" y="511520"/>
            <a:ext cx="429738" cy="42973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884853" y="2456515"/>
            <a:ext cx="1131784" cy="3300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defTabSz="554492" fontAlgn="auto">
              <a:spcBef>
                <a:spcPts val="0"/>
              </a:spcBef>
              <a:spcAft>
                <a:spcPts val="0"/>
              </a:spcAft>
            </a:pPr>
            <a:r>
              <a:rPr sz="1031" spc="-6" dirty="0">
                <a:solidFill>
                  <a:srgbClr val="4E4E4E"/>
                </a:solidFill>
                <a:latin typeface="Roboto Light"/>
                <a:cs typeface="Roboto Light"/>
              </a:rPr>
              <a:t>Работа</a:t>
            </a:r>
            <a:r>
              <a:rPr sz="1031" spc="-42" dirty="0">
                <a:solidFill>
                  <a:srgbClr val="4E4E4E"/>
                </a:solidFill>
                <a:latin typeface="Roboto Light"/>
                <a:cs typeface="Roboto Light"/>
              </a:rPr>
              <a:t> </a:t>
            </a:r>
            <a:r>
              <a:rPr sz="1031" spc="-3" dirty="0">
                <a:solidFill>
                  <a:srgbClr val="4E4E4E"/>
                </a:solidFill>
                <a:latin typeface="Roboto Light"/>
                <a:cs typeface="Roboto Light"/>
              </a:rPr>
              <a:t>везде,</a:t>
            </a:r>
            <a:endParaRPr sz="1031">
              <a:solidFill>
                <a:prstClr val="black"/>
              </a:solidFill>
              <a:latin typeface="Roboto Light"/>
              <a:cs typeface="Roboto Light"/>
            </a:endParaRPr>
          </a:p>
          <a:p>
            <a:pPr marL="7701" defTabSz="554492" fontAlgn="auto">
              <a:spcBef>
                <a:spcPts val="149"/>
              </a:spcBef>
              <a:spcAft>
                <a:spcPts val="0"/>
              </a:spcAft>
            </a:pPr>
            <a:r>
              <a:rPr sz="1031" spc="-12" dirty="0">
                <a:solidFill>
                  <a:srgbClr val="4E4E4E"/>
                </a:solidFill>
                <a:latin typeface="Roboto Light"/>
                <a:cs typeface="Roboto Light"/>
              </a:rPr>
              <a:t>где </a:t>
            </a:r>
            <a:r>
              <a:rPr sz="1031" spc="-3" dirty="0">
                <a:solidFill>
                  <a:srgbClr val="4E4E4E"/>
                </a:solidFill>
                <a:latin typeface="Roboto Light"/>
                <a:cs typeface="Roboto Light"/>
              </a:rPr>
              <a:t>есть</a:t>
            </a:r>
            <a:r>
              <a:rPr sz="1031" spc="-36" dirty="0">
                <a:solidFill>
                  <a:srgbClr val="4E4E4E"/>
                </a:solidFill>
                <a:latin typeface="Roboto Light"/>
                <a:cs typeface="Roboto Light"/>
              </a:rPr>
              <a:t> </a:t>
            </a:r>
            <a:r>
              <a:rPr sz="1031" spc="-6" dirty="0">
                <a:solidFill>
                  <a:srgbClr val="4E4E4E"/>
                </a:solidFill>
                <a:latin typeface="Roboto Light"/>
                <a:cs typeface="Roboto Light"/>
              </a:rPr>
              <a:t>интернет</a:t>
            </a:r>
            <a:endParaRPr sz="1031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24549" y="3876797"/>
            <a:ext cx="999289" cy="3553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 defTabSz="554492" fontAlgn="auto">
              <a:lnSpc>
                <a:spcPct val="112400"/>
              </a:lnSpc>
              <a:spcBef>
                <a:spcPts val="0"/>
              </a:spcBef>
              <a:spcAft>
                <a:spcPts val="0"/>
              </a:spcAft>
            </a:pPr>
            <a:r>
              <a:rPr sz="1031" dirty="0">
                <a:solidFill>
                  <a:srgbClr val="4E4E4E"/>
                </a:solidFill>
                <a:latin typeface="Roboto Light"/>
                <a:cs typeface="Roboto Light"/>
              </a:rPr>
              <a:t>На</a:t>
            </a:r>
            <a:r>
              <a:rPr sz="1031" spc="-58" dirty="0">
                <a:solidFill>
                  <a:srgbClr val="4E4E4E"/>
                </a:solidFill>
                <a:latin typeface="Roboto Light"/>
                <a:cs typeface="Roboto Light"/>
              </a:rPr>
              <a:t> </a:t>
            </a:r>
            <a:r>
              <a:rPr sz="1031" spc="-6" dirty="0">
                <a:solidFill>
                  <a:srgbClr val="4E4E4E"/>
                </a:solidFill>
                <a:latin typeface="Roboto Light"/>
                <a:cs typeface="Roboto Light"/>
              </a:rPr>
              <a:t>компьютере  </a:t>
            </a:r>
            <a:r>
              <a:rPr sz="1031" spc="-3" dirty="0">
                <a:solidFill>
                  <a:srgbClr val="4E4E4E"/>
                </a:solidFill>
                <a:latin typeface="Roboto Light"/>
                <a:cs typeface="Roboto Light"/>
              </a:rPr>
              <a:t>или</a:t>
            </a:r>
            <a:r>
              <a:rPr sz="1031" spc="-58" dirty="0">
                <a:solidFill>
                  <a:srgbClr val="4E4E4E"/>
                </a:solidFill>
                <a:latin typeface="Roboto Light"/>
                <a:cs typeface="Roboto Light"/>
              </a:rPr>
              <a:t> </a:t>
            </a:r>
            <a:r>
              <a:rPr sz="1031" spc="-6" dirty="0">
                <a:solidFill>
                  <a:srgbClr val="4E4E4E"/>
                </a:solidFill>
                <a:latin typeface="Roboto Light"/>
                <a:cs typeface="Roboto Light"/>
              </a:rPr>
              <a:t>планшете</a:t>
            </a:r>
            <a:endParaRPr sz="1031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825870" y="3369456"/>
            <a:ext cx="438203" cy="438203"/>
          </a:xfrm>
          <a:custGeom>
            <a:avLst/>
            <a:gdLst/>
            <a:ahLst/>
            <a:cxnLst/>
            <a:rect l="l" t="t" r="r" b="b"/>
            <a:pathLst>
              <a:path w="722630" h="722629">
                <a:moveTo>
                  <a:pt x="361245" y="0"/>
                </a:moveTo>
                <a:lnTo>
                  <a:pt x="312226" y="3297"/>
                </a:lnTo>
                <a:lnTo>
                  <a:pt x="265211" y="12903"/>
                </a:lnTo>
                <a:lnTo>
                  <a:pt x="220631" y="28386"/>
                </a:lnTo>
                <a:lnTo>
                  <a:pt x="178917" y="49317"/>
                </a:lnTo>
                <a:lnTo>
                  <a:pt x="140498" y="75266"/>
                </a:lnTo>
                <a:lnTo>
                  <a:pt x="105805" y="105801"/>
                </a:lnTo>
                <a:lnTo>
                  <a:pt x="75269" y="140493"/>
                </a:lnTo>
                <a:lnTo>
                  <a:pt x="49320" y="178912"/>
                </a:lnTo>
                <a:lnTo>
                  <a:pt x="28388" y="220627"/>
                </a:lnTo>
                <a:lnTo>
                  <a:pt x="12903" y="265207"/>
                </a:lnTo>
                <a:lnTo>
                  <a:pt x="3297" y="312224"/>
                </a:lnTo>
                <a:lnTo>
                  <a:pt x="0" y="361245"/>
                </a:lnTo>
                <a:lnTo>
                  <a:pt x="3297" y="410264"/>
                </a:lnTo>
                <a:lnTo>
                  <a:pt x="12903" y="457279"/>
                </a:lnTo>
                <a:lnTo>
                  <a:pt x="28388" y="501859"/>
                </a:lnTo>
                <a:lnTo>
                  <a:pt x="49320" y="543573"/>
                </a:lnTo>
                <a:lnTo>
                  <a:pt x="75269" y="581992"/>
                </a:lnTo>
                <a:lnTo>
                  <a:pt x="105805" y="616685"/>
                </a:lnTo>
                <a:lnTo>
                  <a:pt x="140498" y="647221"/>
                </a:lnTo>
                <a:lnTo>
                  <a:pt x="178917" y="673170"/>
                </a:lnTo>
                <a:lnTo>
                  <a:pt x="220631" y="694102"/>
                </a:lnTo>
                <a:lnTo>
                  <a:pt x="265211" y="709587"/>
                </a:lnTo>
                <a:lnTo>
                  <a:pt x="312226" y="719193"/>
                </a:lnTo>
                <a:lnTo>
                  <a:pt x="361245" y="722491"/>
                </a:lnTo>
                <a:lnTo>
                  <a:pt x="410264" y="719193"/>
                </a:lnTo>
                <a:lnTo>
                  <a:pt x="457279" y="709587"/>
                </a:lnTo>
                <a:lnTo>
                  <a:pt x="501859" y="694102"/>
                </a:lnTo>
                <a:lnTo>
                  <a:pt x="543573" y="673170"/>
                </a:lnTo>
                <a:lnTo>
                  <a:pt x="581992" y="647221"/>
                </a:lnTo>
                <a:lnTo>
                  <a:pt x="616685" y="616685"/>
                </a:lnTo>
                <a:lnTo>
                  <a:pt x="647221" y="581992"/>
                </a:lnTo>
                <a:lnTo>
                  <a:pt x="673170" y="543573"/>
                </a:lnTo>
                <a:lnTo>
                  <a:pt x="694102" y="501859"/>
                </a:lnTo>
                <a:lnTo>
                  <a:pt x="709587" y="457279"/>
                </a:lnTo>
                <a:lnTo>
                  <a:pt x="719193" y="410264"/>
                </a:lnTo>
                <a:lnTo>
                  <a:pt x="722491" y="361245"/>
                </a:lnTo>
                <a:lnTo>
                  <a:pt x="719193" y="312224"/>
                </a:lnTo>
                <a:lnTo>
                  <a:pt x="709587" y="265207"/>
                </a:lnTo>
                <a:lnTo>
                  <a:pt x="694102" y="220627"/>
                </a:lnTo>
                <a:lnTo>
                  <a:pt x="673170" y="178912"/>
                </a:lnTo>
                <a:lnTo>
                  <a:pt x="647221" y="140493"/>
                </a:lnTo>
                <a:lnTo>
                  <a:pt x="616685" y="105801"/>
                </a:lnTo>
                <a:lnTo>
                  <a:pt x="581992" y="75266"/>
                </a:lnTo>
                <a:lnTo>
                  <a:pt x="543573" y="49317"/>
                </a:lnTo>
                <a:lnTo>
                  <a:pt x="501859" y="28386"/>
                </a:lnTo>
                <a:lnTo>
                  <a:pt x="457279" y="12903"/>
                </a:lnTo>
                <a:lnTo>
                  <a:pt x="410264" y="3297"/>
                </a:lnTo>
                <a:lnTo>
                  <a:pt x="361245" y="0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917824" y="3476108"/>
            <a:ext cx="251062" cy="223723"/>
          </a:xfrm>
          <a:custGeom>
            <a:avLst/>
            <a:gdLst/>
            <a:ahLst/>
            <a:cxnLst/>
            <a:rect l="l" t="t" r="r" b="b"/>
            <a:pathLst>
              <a:path w="414019" h="368935">
                <a:moveTo>
                  <a:pt x="327204" y="349664"/>
                </a:moveTo>
                <a:lnTo>
                  <a:pt x="86730" y="349664"/>
                </a:lnTo>
                <a:lnTo>
                  <a:pt x="82447" y="353936"/>
                </a:lnTo>
                <a:lnTo>
                  <a:pt x="82447" y="364481"/>
                </a:lnTo>
                <a:lnTo>
                  <a:pt x="86730" y="368753"/>
                </a:lnTo>
                <a:lnTo>
                  <a:pt x="327204" y="368753"/>
                </a:lnTo>
                <a:lnTo>
                  <a:pt x="331487" y="364481"/>
                </a:lnTo>
                <a:lnTo>
                  <a:pt x="331487" y="353936"/>
                </a:lnTo>
                <a:lnTo>
                  <a:pt x="327204" y="349664"/>
                </a:lnTo>
                <a:close/>
              </a:path>
              <a:path w="414019" h="368935">
                <a:moveTo>
                  <a:pt x="168801" y="301257"/>
                </a:moveTo>
                <a:lnTo>
                  <a:pt x="149702" y="301257"/>
                </a:lnTo>
                <a:lnTo>
                  <a:pt x="149702" y="319435"/>
                </a:lnTo>
                <a:lnTo>
                  <a:pt x="147323" y="331191"/>
                </a:lnTo>
                <a:lnTo>
                  <a:pt x="140839" y="340801"/>
                </a:lnTo>
                <a:lnTo>
                  <a:pt x="131233" y="347285"/>
                </a:lnTo>
                <a:lnTo>
                  <a:pt x="119483" y="349664"/>
                </a:lnTo>
                <a:lnTo>
                  <a:pt x="158393" y="349664"/>
                </a:lnTo>
                <a:lnTo>
                  <a:pt x="162766" y="343018"/>
                </a:lnTo>
                <a:lnTo>
                  <a:pt x="166039" y="335688"/>
                </a:lnTo>
                <a:lnTo>
                  <a:pt x="168090" y="327789"/>
                </a:lnTo>
                <a:lnTo>
                  <a:pt x="168801" y="319435"/>
                </a:lnTo>
                <a:lnTo>
                  <a:pt x="168801" y="301257"/>
                </a:lnTo>
                <a:close/>
              </a:path>
              <a:path w="414019" h="368935">
                <a:moveTo>
                  <a:pt x="264232" y="301257"/>
                </a:moveTo>
                <a:lnTo>
                  <a:pt x="245154" y="301257"/>
                </a:lnTo>
                <a:lnTo>
                  <a:pt x="245154" y="319435"/>
                </a:lnTo>
                <a:lnTo>
                  <a:pt x="245863" y="327789"/>
                </a:lnTo>
                <a:lnTo>
                  <a:pt x="247909" y="335688"/>
                </a:lnTo>
                <a:lnTo>
                  <a:pt x="251175" y="343018"/>
                </a:lnTo>
                <a:lnTo>
                  <a:pt x="255541" y="349664"/>
                </a:lnTo>
                <a:lnTo>
                  <a:pt x="294462" y="349664"/>
                </a:lnTo>
                <a:lnTo>
                  <a:pt x="282706" y="347285"/>
                </a:lnTo>
                <a:lnTo>
                  <a:pt x="273096" y="340801"/>
                </a:lnTo>
                <a:lnTo>
                  <a:pt x="266611" y="331191"/>
                </a:lnTo>
                <a:lnTo>
                  <a:pt x="264232" y="319435"/>
                </a:lnTo>
                <a:lnTo>
                  <a:pt x="264232" y="301257"/>
                </a:lnTo>
                <a:close/>
              </a:path>
              <a:path w="414019" h="368935">
                <a:moveTo>
                  <a:pt x="388941" y="0"/>
                </a:moveTo>
                <a:lnTo>
                  <a:pt x="24994" y="0"/>
                </a:lnTo>
                <a:lnTo>
                  <a:pt x="15279" y="1965"/>
                </a:lnTo>
                <a:lnTo>
                  <a:pt x="7333" y="7324"/>
                </a:lnTo>
                <a:lnTo>
                  <a:pt x="1969" y="15266"/>
                </a:lnTo>
                <a:lnTo>
                  <a:pt x="0" y="24983"/>
                </a:lnTo>
                <a:lnTo>
                  <a:pt x="0" y="276263"/>
                </a:lnTo>
                <a:lnTo>
                  <a:pt x="1969" y="285982"/>
                </a:lnTo>
                <a:lnTo>
                  <a:pt x="7333" y="293928"/>
                </a:lnTo>
                <a:lnTo>
                  <a:pt x="15279" y="299290"/>
                </a:lnTo>
                <a:lnTo>
                  <a:pt x="24994" y="301257"/>
                </a:lnTo>
                <a:lnTo>
                  <a:pt x="388941" y="301257"/>
                </a:lnTo>
                <a:lnTo>
                  <a:pt x="398655" y="299290"/>
                </a:lnTo>
                <a:lnTo>
                  <a:pt x="406601" y="293928"/>
                </a:lnTo>
                <a:lnTo>
                  <a:pt x="411966" y="285982"/>
                </a:lnTo>
                <a:lnTo>
                  <a:pt x="412738" y="282169"/>
                </a:lnTo>
                <a:lnTo>
                  <a:pt x="21748" y="282169"/>
                </a:lnTo>
                <a:lnTo>
                  <a:pt x="19098" y="279520"/>
                </a:lnTo>
                <a:lnTo>
                  <a:pt x="19098" y="226118"/>
                </a:lnTo>
                <a:lnTo>
                  <a:pt x="413935" y="226118"/>
                </a:lnTo>
                <a:lnTo>
                  <a:pt x="413935" y="207019"/>
                </a:lnTo>
                <a:lnTo>
                  <a:pt x="19098" y="207019"/>
                </a:lnTo>
                <a:lnTo>
                  <a:pt x="19098" y="21727"/>
                </a:lnTo>
                <a:lnTo>
                  <a:pt x="21748" y="19077"/>
                </a:lnTo>
                <a:lnTo>
                  <a:pt x="412739" y="19077"/>
                </a:lnTo>
                <a:lnTo>
                  <a:pt x="411967" y="15266"/>
                </a:lnTo>
                <a:lnTo>
                  <a:pt x="406605" y="7324"/>
                </a:lnTo>
                <a:lnTo>
                  <a:pt x="398659" y="1965"/>
                </a:lnTo>
                <a:lnTo>
                  <a:pt x="388941" y="0"/>
                </a:lnTo>
                <a:close/>
              </a:path>
              <a:path w="414019" h="368935">
                <a:moveTo>
                  <a:pt x="413935" y="226118"/>
                </a:moveTo>
                <a:lnTo>
                  <a:pt x="394846" y="226118"/>
                </a:lnTo>
                <a:lnTo>
                  <a:pt x="394846" y="279520"/>
                </a:lnTo>
                <a:lnTo>
                  <a:pt x="392207" y="282169"/>
                </a:lnTo>
                <a:lnTo>
                  <a:pt x="412738" y="282169"/>
                </a:lnTo>
                <a:lnTo>
                  <a:pt x="413935" y="276263"/>
                </a:lnTo>
                <a:lnTo>
                  <a:pt x="413935" y="226118"/>
                </a:lnTo>
                <a:close/>
              </a:path>
              <a:path w="414019" h="368935">
                <a:moveTo>
                  <a:pt x="412739" y="19077"/>
                </a:moveTo>
                <a:lnTo>
                  <a:pt x="392197" y="19077"/>
                </a:lnTo>
                <a:lnTo>
                  <a:pt x="394846" y="21727"/>
                </a:lnTo>
                <a:lnTo>
                  <a:pt x="394846" y="207019"/>
                </a:lnTo>
                <a:lnTo>
                  <a:pt x="413935" y="207019"/>
                </a:lnTo>
                <a:lnTo>
                  <a:pt x="413935" y="24983"/>
                </a:lnTo>
                <a:lnTo>
                  <a:pt x="412739" y="1907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037088" y="3623977"/>
            <a:ext cx="12707" cy="12707"/>
          </a:xfrm>
          <a:custGeom>
            <a:avLst/>
            <a:gdLst/>
            <a:ahLst/>
            <a:cxnLst/>
            <a:rect l="l" t="t" r="r" b="b"/>
            <a:pathLst>
              <a:path w="20955" h="20954">
                <a:moveTo>
                  <a:pt x="15989" y="0"/>
                </a:moveTo>
                <a:lnTo>
                  <a:pt x="4607" y="0"/>
                </a:lnTo>
                <a:lnTo>
                  <a:pt x="0" y="4607"/>
                </a:lnTo>
                <a:lnTo>
                  <a:pt x="0" y="15978"/>
                </a:lnTo>
                <a:lnTo>
                  <a:pt x="4607" y="20596"/>
                </a:lnTo>
                <a:lnTo>
                  <a:pt x="15989" y="20596"/>
                </a:lnTo>
                <a:lnTo>
                  <a:pt x="20585" y="15978"/>
                </a:lnTo>
                <a:lnTo>
                  <a:pt x="20585" y="4607"/>
                </a:lnTo>
                <a:lnTo>
                  <a:pt x="1598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1001915" y="3513706"/>
            <a:ext cx="53909" cy="53139"/>
          </a:xfrm>
          <a:custGeom>
            <a:avLst/>
            <a:gdLst/>
            <a:ahLst/>
            <a:cxnLst/>
            <a:rect l="l" t="t" r="r" b="b"/>
            <a:pathLst>
              <a:path w="88900" h="87629">
                <a:moveTo>
                  <a:pt x="80939" y="0"/>
                </a:moveTo>
                <a:lnTo>
                  <a:pt x="74887" y="0"/>
                </a:lnTo>
                <a:lnTo>
                  <a:pt x="0" y="74898"/>
                </a:lnTo>
                <a:lnTo>
                  <a:pt x="0" y="80939"/>
                </a:lnTo>
                <a:lnTo>
                  <a:pt x="5591" y="86520"/>
                </a:lnTo>
                <a:lnTo>
                  <a:pt x="8041" y="87463"/>
                </a:lnTo>
                <a:lnTo>
                  <a:pt x="12910" y="87463"/>
                </a:lnTo>
                <a:lnTo>
                  <a:pt x="15360" y="86520"/>
                </a:lnTo>
                <a:lnTo>
                  <a:pt x="88384" y="13507"/>
                </a:lnTo>
                <a:lnTo>
                  <a:pt x="88384" y="7455"/>
                </a:lnTo>
                <a:lnTo>
                  <a:pt x="8093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1050761" y="3537408"/>
            <a:ext cx="29265" cy="28495"/>
          </a:xfrm>
          <a:custGeom>
            <a:avLst/>
            <a:gdLst/>
            <a:ahLst/>
            <a:cxnLst/>
            <a:rect l="l" t="t" r="r" b="b"/>
            <a:pathLst>
              <a:path w="48260" h="46989">
                <a:moveTo>
                  <a:pt x="40354" y="0"/>
                </a:moveTo>
                <a:lnTo>
                  <a:pt x="34313" y="0"/>
                </a:lnTo>
                <a:lnTo>
                  <a:pt x="0" y="34313"/>
                </a:lnTo>
                <a:lnTo>
                  <a:pt x="0" y="40365"/>
                </a:lnTo>
                <a:lnTo>
                  <a:pt x="5580" y="45946"/>
                </a:lnTo>
                <a:lnTo>
                  <a:pt x="8020" y="46888"/>
                </a:lnTo>
                <a:lnTo>
                  <a:pt x="12910" y="46888"/>
                </a:lnTo>
                <a:lnTo>
                  <a:pt x="15350" y="45946"/>
                </a:lnTo>
                <a:lnTo>
                  <a:pt x="47799" y="13496"/>
                </a:lnTo>
                <a:lnTo>
                  <a:pt x="47799" y="7455"/>
                </a:lnTo>
                <a:lnTo>
                  <a:pt x="4035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884853" y="5523757"/>
            <a:ext cx="1325368" cy="5330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 defTabSz="554492" fontAlgn="auto">
              <a:lnSpc>
                <a:spcPct val="112400"/>
              </a:lnSpc>
              <a:spcBef>
                <a:spcPts val="0"/>
              </a:spcBef>
              <a:spcAft>
                <a:spcPts val="0"/>
              </a:spcAft>
            </a:pPr>
            <a:r>
              <a:rPr sz="1031" spc="-6" dirty="0">
                <a:solidFill>
                  <a:srgbClr val="4E4E4E"/>
                </a:solidFill>
                <a:latin typeface="Roboto Light"/>
                <a:cs typeface="Roboto Light"/>
              </a:rPr>
              <a:t>Библиотека </a:t>
            </a:r>
            <a:r>
              <a:rPr sz="1031" spc="-3" dirty="0">
                <a:solidFill>
                  <a:srgbClr val="4E4E4E"/>
                </a:solidFill>
                <a:latin typeface="Roboto Light"/>
                <a:cs typeface="Roboto Light"/>
              </a:rPr>
              <a:t>знаний:  нормы,</a:t>
            </a:r>
            <a:r>
              <a:rPr sz="1031" spc="-21" dirty="0">
                <a:solidFill>
                  <a:srgbClr val="4E4E4E"/>
                </a:solidFill>
                <a:latin typeface="Roboto Light"/>
                <a:cs typeface="Roboto Light"/>
              </a:rPr>
              <a:t> </a:t>
            </a:r>
            <a:r>
              <a:rPr sz="1031" spc="-3" dirty="0">
                <a:solidFill>
                  <a:srgbClr val="4E4E4E"/>
                </a:solidFill>
                <a:latin typeface="Roboto Light"/>
                <a:cs typeface="Roboto Light"/>
              </a:rPr>
              <a:t>справочники  блюд</a:t>
            </a:r>
            <a:endParaRPr sz="1031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2892557" y="4965656"/>
            <a:ext cx="438203" cy="438203"/>
          </a:xfrm>
          <a:custGeom>
            <a:avLst/>
            <a:gdLst/>
            <a:ahLst/>
            <a:cxnLst/>
            <a:rect l="l" t="t" r="r" b="b"/>
            <a:pathLst>
              <a:path w="722629" h="722629">
                <a:moveTo>
                  <a:pt x="361245" y="0"/>
                </a:moveTo>
                <a:lnTo>
                  <a:pt x="312224" y="3297"/>
                </a:lnTo>
                <a:lnTo>
                  <a:pt x="265207" y="12903"/>
                </a:lnTo>
                <a:lnTo>
                  <a:pt x="220627" y="28388"/>
                </a:lnTo>
                <a:lnTo>
                  <a:pt x="178912" y="49320"/>
                </a:lnTo>
                <a:lnTo>
                  <a:pt x="140493" y="75269"/>
                </a:lnTo>
                <a:lnTo>
                  <a:pt x="105801" y="105805"/>
                </a:lnTo>
                <a:lnTo>
                  <a:pt x="75266" y="140498"/>
                </a:lnTo>
                <a:lnTo>
                  <a:pt x="49317" y="178917"/>
                </a:lnTo>
                <a:lnTo>
                  <a:pt x="28386" y="220631"/>
                </a:lnTo>
                <a:lnTo>
                  <a:pt x="12903" y="265211"/>
                </a:lnTo>
                <a:lnTo>
                  <a:pt x="3297" y="312226"/>
                </a:lnTo>
                <a:lnTo>
                  <a:pt x="0" y="361245"/>
                </a:lnTo>
                <a:lnTo>
                  <a:pt x="3297" y="410264"/>
                </a:lnTo>
                <a:lnTo>
                  <a:pt x="12903" y="457279"/>
                </a:lnTo>
                <a:lnTo>
                  <a:pt x="28386" y="501859"/>
                </a:lnTo>
                <a:lnTo>
                  <a:pt x="49317" y="543573"/>
                </a:lnTo>
                <a:lnTo>
                  <a:pt x="75266" y="581992"/>
                </a:lnTo>
                <a:lnTo>
                  <a:pt x="105801" y="616685"/>
                </a:lnTo>
                <a:lnTo>
                  <a:pt x="140493" y="647221"/>
                </a:lnTo>
                <a:lnTo>
                  <a:pt x="178912" y="673170"/>
                </a:lnTo>
                <a:lnTo>
                  <a:pt x="220627" y="694102"/>
                </a:lnTo>
                <a:lnTo>
                  <a:pt x="265207" y="709587"/>
                </a:lnTo>
                <a:lnTo>
                  <a:pt x="312224" y="719193"/>
                </a:lnTo>
                <a:lnTo>
                  <a:pt x="361245" y="722491"/>
                </a:lnTo>
                <a:lnTo>
                  <a:pt x="410264" y="719193"/>
                </a:lnTo>
                <a:lnTo>
                  <a:pt x="457279" y="709587"/>
                </a:lnTo>
                <a:lnTo>
                  <a:pt x="501859" y="694102"/>
                </a:lnTo>
                <a:lnTo>
                  <a:pt x="543573" y="673170"/>
                </a:lnTo>
                <a:lnTo>
                  <a:pt x="581992" y="647221"/>
                </a:lnTo>
                <a:lnTo>
                  <a:pt x="616685" y="616685"/>
                </a:lnTo>
                <a:lnTo>
                  <a:pt x="647221" y="581992"/>
                </a:lnTo>
                <a:lnTo>
                  <a:pt x="673170" y="543573"/>
                </a:lnTo>
                <a:lnTo>
                  <a:pt x="694102" y="501859"/>
                </a:lnTo>
                <a:lnTo>
                  <a:pt x="709587" y="457279"/>
                </a:lnTo>
                <a:lnTo>
                  <a:pt x="719193" y="410264"/>
                </a:lnTo>
                <a:lnTo>
                  <a:pt x="722491" y="361245"/>
                </a:lnTo>
                <a:lnTo>
                  <a:pt x="719193" y="312226"/>
                </a:lnTo>
                <a:lnTo>
                  <a:pt x="709587" y="265211"/>
                </a:lnTo>
                <a:lnTo>
                  <a:pt x="694102" y="220631"/>
                </a:lnTo>
                <a:lnTo>
                  <a:pt x="673170" y="178917"/>
                </a:lnTo>
                <a:lnTo>
                  <a:pt x="647221" y="140498"/>
                </a:lnTo>
                <a:lnTo>
                  <a:pt x="616685" y="105805"/>
                </a:lnTo>
                <a:lnTo>
                  <a:pt x="581992" y="75269"/>
                </a:lnTo>
                <a:lnTo>
                  <a:pt x="543573" y="49320"/>
                </a:lnTo>
                <a:lnTo>
                  <a:pt x="501859" y="28388"/>
                </a:lnTo>
                <a:lnTo>
                  <a:pt x="457279" y="12903"/>
                </a:lnTo>
                <a:lnTo>
                  <a:pt x="410264" y="3297"/>
                </a:lnTo>
                <a:lnTo>
                  <a:pt x="361245" y="0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3008332" y="5307249"/>
            <a:ext cx="206780" cy="0"/>
          </a:xfrm>
          <a:custGeom>
            <a:avLst/>
            <a:gdLst/>
            <a:ahLst/>
            <a:cxnLst/>
            <a:rect l="l" t="t" r="r" b="b"/>
            <a:pathLst>
              <a:path w="340995">
                <a:moveTo>
                  <a:pt x="0" y="0"/>
                </a:moveTo>
                <a:lnTo>
                  <a:pt x="340638" y="0"/>
                </a:lnTo>
              </a:path>
            </a:pathLst>
          </a:custGeom>
          <a:ln w="1523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3012827" y="5051566"/>
            <a:ext cx="0" cy="251062"/>
          </a:xfrm>
          <a:custGeom>
            <a:avLst/>
            <a:gdLst/>
            <a:ahLst/>
            <a:cxnLst/>
            <a:rect l="l" t="t" r="r" b="b"/>
            <a:pathLst>
              <a:path h="414020">
                <a:moveTo>
                  <a:pt x="0" y="0"/>
                </a:moveTo>
                <a:lnTo>
                  <a:pt x="0" y="414019"/>
                </a:lnTo>
              </a:path>
            </a:pathLst>
          </a:custGeom>
          <a:ln w="1482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3008332" y="5046945"/>
            <a:ext cx="206780" cy="0"/>
          </a:xfrm>
          <a:custGeom>
            <a:avLst/>
            <a:gdLst/>
            <a:ahLst/>
            <a:cxnLst/>
            <a:rect l="l" t="t" r="r" b="b"/>
            <a:pathLst>
              <a:path w="340995">
                <a:moveTo>
                  <a:pt x="0" y="0"/>
                </a:moveTo>
                <a:lnTo>
                  <a:pt x="340638" y="0"/>
                </a:lnTo>
              </a:path>
            </a:pathLst>
          </a:custGeom>
          <a:ln w="1523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3048737" y="5051261"/>
            <a:ext cx="0" cy="251447"/>
          </a:xfrm>
          <a:custGeom>
            <a:avLst/>
            <a:gdLst/>
            <a:ahLst/>
            <a:cxnLst/>
            <a:rect l="l" t="t" r="r" b="b"/>
            <a:pathLst>
              <a:path h="414654">
                <a:moveTo>
                  <a:pt x="0" y="0"/>
                </a:moveTo>
                <a:lnTo>
                  <a:pt x="0" y="414657"/>
                </a:lnTo>
              </a:path>
            </a:pathLst>
          </a:custGeom>
          <a:ln w="1483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3210400" y="5051261"/>
            <a:ext cx="0" cy="251447"/>
          </a:xfrm>
          <a:custGeom>
            <a:avLst/>
            <a:gdLst/>
            <a:ahLst/>
            <a:cxnLst/>
            <a:rect l="l" t="t" r="r" b="b"/>
            <a:pathLst>
              <a:path h="414654">
                <a:moveTo>
                  <a:pt x="0" y="0"/>
                </a:moveTo>
                <a:lnTo>
                  <a:pt x="0" y="414657"/>
                </a:lnTo>
              </a:path>
            </a:pathLst>
          </a:custGeom>
          <a:ln w="1482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3075688" y="5145521"/>
            <a:ext cx="107818" cy="0"/>
          </a:xfrm>
          <a:custGeom>
            <a:avLst/>
            <a:gdLst/>
            <a:ahLst/>
            <a:cxnLst/>
            <a:rect l="l" t="t" r="r" b="b"/>
            <a:pathLst>
              <a:path w="177800">
                <a:moveTo>
                  <a:pt x="0" y="0"/>
                </a:moveTo>
                <a:lnTo>
                  <a:pt x="177711" y="0"/>
                </a:lnTo>
              </a:path>
            </a:pathLst>
          </a:custGeom>
          <a:ln w="1523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3080183" y="5096233"/>
            <a:ext cx="0" cy="44667"/>
          </a:xfrm>
          <a:custGeom>
            <a:avLst/>
            <a:gdLst/>
            <a:ahLst/>
            <a:cxnLst/>
            <a:rect l="l" t="t" r="r" b="b"/>
            <a:pathLst>
              <a:path h="73659">
                <a:moveTo>
                  <a:pt x="0" y="0"/>
                </a:moveTo>
                <a:lnTo>
                  <a:pt x="0" y="73660"/>
                </a:lnTo>
              </a:path>
            </a:pathLst>
          </a:custGeom>
          <a:ln w="1482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3075688" y="5091612"/>
            <a:ext cx="107818" cy="0"/>
          </a:xfrm>
          <a:custGeom>
            <a:avLst/>
            <a:gdLst/>
            <a:ahLst/>
            <a:cxnLst/>
            <a:rect l="l" t="t" r="r" b="b"/>
            <a:pathLst>
              <a:path w="177800">
                <a:moveTo>
                  <a:pt x="0" y="0"/>
                </a:moveTo>
                <a:lnTo>
                  <a:pt x="177711" y="0"/>
                </a:lnTo>
              </a:path>
            </a:pathLst>
          </a:custGeom>
          <a:ln w="1523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3178973" y="5096171"/>
            <a:ext cx="0" cy="45053"/>
          </a:xfrm>
          <a:custGeom>
            <a:avLst/>
            <a:gdLst/>
            <a:ahLst/>
            <a:cxnLst/>
            <a:rect l="l" t="t" r="r" b="b"/>
            <a:pathLst>
              <a:path h="74295">
                <a:moveTo>
                  <a:pt x="0" y="0"/>
                </a:moveTo>
                <a:lnTo>
                  <a:pt x="0" y="74050"/>
                </a:lnTo>
              </a:path>
            </a:pathLst>
          </a:custGeom>
          <a:ln w="147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3098134" y="5109632"/>
            <a:ext cx="63150" cy="0"/>
          </a:xfrm>
          <a:custGeom>
            <a:avLst/>
            <a:gdLst/>
            <a:ahLst/>
            <a:cxnLst/>
            <a:rect l="l" t="t" r="r" b="b"/>
            <a:pathLst>
              <a:path w="104139">
                <a:moveTo>
                  <a:pt x="0" y="0"/>
                </a:moveTo>
                <a:lnTo>
                  <a:pt x="103661" y="0"/>
                </a:lnTo>
              </a:path>
            </a:pathLst>
          </a:custGeom>
          <a:ln w="1482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3098134" y="5127588"/>
            <a:ext cx="63150" cy="0"/>
          </a:xfrm>
          <a:custGeom>
            <a:avLst/>
            <a:gdLst/>
            <a:ahLst/>
            <a:cxnLst/>
            <a:rect l="l" t="t" r="r" b="b"/>
            <a:pathLst>
              <a:path w="104139">
                <a:moveTo>
                  <a:pt x="0" y="0"/>
                </a:moveTo>
                <a:lnTo>
                  <a:pt x="103661" y="0"/>
                </a:lnTo>
              </a:path>
            </a:pathLst>
          </a:custGeom>
          <a:ln w="1482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824517" y="5523757"/>
            <a:ext cx="1277488" cy="3553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 defTabSz="554492" fontAlgn="auto">
              <a:lnSpc>
                <a:spcPct val="112400"/>
              </a:lnSpc>
              <a:spcBef>
                <a:spcPts val="0"/>
              </a:spcBef>
              <a:spcAft>
                <a:spcPts val="0"/>
              </a:spcAft>
            </a:pPr>
            <a:r>
              <a:rPr sz="1031" spc="-3" dirty="0">
                <a:solidFill>
                  <a:srgbClr val="4E4E4E"/>
                </a:solidFill>
                <a:latin typeface="Roboto Light"/>
                <a:cs typeface="Roboto Light"/>
              </a:rPr>
              <a:t>Данные </a:t>
            </a:r>
            <a:r>
              <a:rPr sz="1031" dirty="0">
                <a:solidFill>
                  <a:srgbClr val="4E4E4E"/>
                </a:solidFill>
                <a:latin typeface="Roboto Light"/>
                <a:cs typeface="Roboto Light"/>
              </a:rPr>
              <a:t>защищены  </a:t>
            </a:r>
            <a:r>
              <a:rPr sz="1031" spc="-3" dirty="0">
                <a:solidFill>
                  <a:srgbClr val="4E4E4E"/>
                </a:solidFill>
                <a:latin typeface="Roboto Light"/>
                <a:cs typeface="Roboto Light"/>
              </a:rPr>
              <a:t>и </a:t>
            </a:r>
            <a:r>
              <a:rPr sz="1031" spc="-6" dirty="0">
                <a:solidFill>
                  <a:srgbClr val="4E4E4E"/>
                </a:solidFill>
                <a:latin typeface="Roboto Light"/>
                <a:cs typeface="Roboto Light"/>
              </a:rPr>
              <a:t>хранятся </a:t>
            </a:r>
            <a:r>
              <a:rPr sz="1031" spc="-3" dirty="0">
                <a:solidFill>
                  <a:srgbClr val="4E4E4E"/>
                </a:solidFill>
                <a:latin typeface="Roboto Light"/>
                <a:cs typeface="Roboto Light"/>
              </a:rPr>
              <a:t>в</a:t>
            </a:r>
            <a:r>
              <a:rPr sz="1031" spc="-42" dirty="0">
                <a:solidFill>
                  <a:srgbClr val="4E4E4E"/>
                </a:solidFill>
                <a:latin typeface="Roboto Light"/>
                <a:cs typeface="Roboto Light"/>
              </a:rPr>
              <a:t> </a:t>
            </a:r>
            <a:r>
              <a:rPr sz="1031" spc="-3" dirty="0">
                <a:solidFill>
                  <a:srgbClr val="4E4E4E"/>
                </a:solidFill>
                <a:latin typeface="Roboto Light"/>
                <a:cs typeface="Roboto Light"/>
              </a:rPr>
              <a:t>облаке</a:t>
            </a:r>
            <a:endParaRPr sz="1031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2884822" y="3876809"/>
            <a:ext cx="1346832" cy="3553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701" marR="3081" defTabSz="554492" fontAlgn="auto">
              <a:lnSpc>
                <a:spcPct val="112400"/>
              </a:lnSpc>
              <a:spcBef>
                <a:spcPts val="0"/>
              </a:spcBef>
              <a:spcAft>
                <a:spcPts val="0"/>
              </a:spcAft>
            </a:pPr>
            <a:r>
              <a:rPr sz="1031" spc="-3" dirty="0">
                <a:solidFill>
                  <a:srgbClr val="4E4E4E"/>
                </a:solidFill>
                <a:latin typeface="Roboto Light"/>
                <a:cs typeface="Roboto Light"/>
              </a:rPr>
              <a:t>Простой, </a:t>
            </a:r>
            <a:r>
              <a:rPr sz="1031" dirty="0">
                <a:solidFill>
                  <a:srgbClr val="4E4E4E"/>
                </a:solidFill>
                <a:latin typeface="Roboto Light"/>
                <a:cs typeface="Roboto Light"/>
              </a:rPr>
              <a:t>интуитивно  </a:t>
            </a:r>
            <a:r>
              <a:rPr sz="1031" spc="-3" dirty="0">
                <a:solidFill>
                  <a:srgbClr val="4E4E4E"/>
                </a:solidFill>
                <a:latin typeface="Roboto Light"/>
                <a:cs typeface="Roboto Light"/>
              </a:rPr>
              <a:t>понятный</a:t>
            </a:r>
            <a:r>
              <a:rPr sz="1031" spc="-30" dirty="0">
                <a:solidFill>
                  <a:srgbClr val="4E4E4E"/>
                </a:solidFill>
                <a:latin typeface="Roboto Light"/>
                <a:cs typeface="Roboto Light"/>
              </a:rPr>
              <a:t> </a:t>
            </a:r>
            <a:r>
              <a:rPr sz="1031" spc="-6" dirty="0">
                <a:solidFill>
                  <a:srgbClr val="4E4E4E"/>
                </a:solidFill>
                <a:latin typeface="Roboto Light"/>
                <a:cs typeface="Roboto Light"/>
              </a:rPr>
              <a:t>интерфейс</a:t>
            </a:r>
            <a:endParaRPr sz="1031">
              <a:solidFill>
                <a:prstClr val="black"/>
              </a:solidFill>
              <a:latin typeface="Roboto Light"/>
              <a:cs typeface="Roboto Light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2892550" y="3369456"/>
            <a:ext cx="438203" cy="438203"/>
          </a:xfrm>
          <a:custGeom>
            <a:avLst/>
            <a:gdLst/>
            <a:ahLst/>
            <a:cxnLst/>
            <a:rect l="l" t="t" r="r" b="b"/>
            <a:pathLst>
              <a:path w="722629" h="722629">
                <a:moveTo>
                  <a:pt x="361245" y="0"/>
                </a:moveTo>
                <a:lnTo>
                  <a:pt x="312226" y="3297"/>
                </a:lnTo>
                <a:lnTo>
                  <a:pt x="265211" y="12903"/>
                </a:lnTo>
                <a:lnTo>
                  <a:pt x="220631" y="28386"/>
                </a:lnTo>
                <a:lnTo>
                  <a:pt x="178917" y="49317"/>
                </a:lnTo>
                <a:lnTo>
                  <a:pt x="140498" y="75266"/>
                </a:lnTo>
                <a:lnTo>
                  <a:pt x="105805" y="105801"/>
                </a:lnTo>
                <a:lnTo>
                  <a:pt x="75269" y="140493"/>
                </a:lnTo>
                <a:lnTo>
                  <a:pt x="49320" y="178912"/>
                </a:lnTo>
                <a:lnTo>
                  <a:pt x="28388" y="220627"/>
                </a:lnTo>
                <a:lnTo>
                  <a:pt x="12903" y="265207"/>
                </a:lnTo>
                <a:lnTo>
                  <a:pt x="3297" y="312224"/>
                </a:lnTo>
                <a:lnTo>
                  <a:pt x="0" y="361245"/>
                </a:lnTo>
                <a:lnTo>
                  <a:pt x="3297" y="410264"/>
                </a:lnTo>
                <a:lnTo>
                  <a:pt x="12903" y="457279"/>
                </a:lnTo>
                <a:lnTo>
                  <a:pt x="28388" y="501859"/>
                </a:lnTo>
                <a:lnTo>
                  <a:pt x="49320" y="543573"/>
                </a:lnTo>
                <a:lnTo>
                  <a:pt x="75269" y="581992"/>
                </a:lnTo>
                <a:lnTo>
                  <a:pt x="105805" y="616685"/>
                </a:lnTo>
                <a:lnTo>
                  <a:pt x="140498" y="647221"/>
                </a:lnTo>
                <a:lnTo>
                  <a:pt x="178917" y="673170"/>
                </a:lnTo>
                <a:lnTo>
                  <a:pt x="220631" y="694102"/>
                </a:lnTo>
                <a:lnTo>
                  <a:pt x="265211" y="709587"/>
                </a:lnTo>
                <a:lnTo>
                  <a:pt x="312226" y="719193"/>
                </a:lnTo>
                <a:lnTo>
                  <a:pt x="361245" y="722491"/>
                </a:lnTo>
                <a:lnTo>
                  <a:pt x="410267" y="719193"/>
                </a:lnTo>
                <a:lnTo>
                  <a:pt x="457283" y="709587"/>
                </a:lnTo>
                <a:lnTo>
                  <a:pt x="501863" y="694102"/>
                </a:lnTo>
                <a:lnTo>
                  <a:pt x="543578" y="673170"/>
                </a:lnTo>
                <a:lnTo>
                  <a:pt x="581997" y="647221"/>
                </a:lnTo>
                <a:lnTo>
                  <a:pt x="616689" y="616685"/>
                </a:lnTo>
                <a:lnTo>
                  <a:pt x="647224" y="581992"/>
                </a:lnTo>
                <a:lnTo>
                  <a:pt x="673173" y="543573"/>
                </a:lnTo>
                <a:lnTo>
                  <a:pt x="694104" y="501859"/>
                </a:lnTo>
                <a:lnTo>
                  <a:pt x="709587" y="457279"/>
                </a:lnTo>
                <a:lnTo>
                  <a:pt x="719193" y="410264"/>
                </a:lnTo>
                <a:lnTo>
                  <a:pt x="722491" y="361245"/>
                </a:lnTo>
                <a:lnTo>
                  <a:pt x="719193" y="312224"/>
                </a:lnTo>
                <a:lnTo>
                  <a:pt x="709587" y="265207"/>
                </a:lnTo>
                <a:lnTo>
                  <a:pt x="694104" y="220627"/>
                </a:lnTo>
                <a:lnTo>
                  <a:pt x="673173" y="178912"/>
                </a:lnTo>
                <a:lnTo>
                  <a:pt x="647224" y="140493"/>
                </a:lnTo>
                <a:lnTo>
                  <a:pt x="616689" y="105801"/>
                </a:lnTo>
                <a:lnTo>
                  <a:pt x="581997" y="75266"/>
                </a:lnTo>
                <a:lnTo>
                  <a:pt x="543578" y="49317"/>
                </a:lnTo>
                <a:lnTo>
                  <a:pt x="501863" y="28386"/>
                </a:lnTo>
                <a:lnTo>
                  <a:pt x="457283" y="12903"/>
                </a:lnTo>
                <a:lnTo>
                  <a:pt x="410267" y="3297"/>
                </a:lnTo>
                <a:lnTo>
                  <a:pt x="361245" y="0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3203721" y="3479257"/>
            <a:ext cx="9627" cy="9627"/>
          </a:xfrm>
          <a:custGeom>
            <a:avLst/>
            <a:gdLst/>
            <a:ahLst/>
            <a:cxnLst/>
            <a:rect l="l" t="t" r="r" b="b"/>
            <a:pathLst>
              <a:path w="15875" h="15875">
                <a:moveTo>
                  <a:pt x="12250" y="0"/>
                </a:moveTo>
                <a:lnTo>
                  <a:pt x="3539" y="0"/>
                </a:lnTo>
                <a:lnTo>
                  <a:pt x="0" y="3539"/>
                </a:lnTo>
                <a:lnTo>
                  <a:pt x="0" y="12250"/>
                </a:lnTo>
                <a:lnTo>
                  <a:pt x="3539" y="15790"/>
                </a:lnTo>
                <a:lnTo>
                  <a:pt x="12250" y="15790"/>
                </a:lnTo>
                <a:lnTo>
                  <a:pt x="15790" y="12250"/>
                </a:lnTo>
                <a:lnTo>
                  <a:pt x="15790" y="3539"/>
                </a:lnTo>
                <a:lnTo>
                  <a:pt x="1225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3175000" y="3479257"/>
            <a:ext cx="9627" cy="9627"/>
          </a:xfrm>
          <a:custGeom>
            <a:avLst/>
            <a:gdLst/>
            <a:ahLst/>
            <a:cxnLst/>
            <a:rect l="l" t="t" r="r" b="b"/>
            <a:pathLst>
              <a:path w="15875" h="15875">
                <a:moveTo>
                  <a:pt x="12250" y="0"/>
                </a:moveTo>
                <a:lnTo>
                  <a:pt x="3539" y="0"/>
                </a:lnTo>
                <a:lnTo>
                  <a:pt x="0" y="3539"/>
                </a:lnTo>
                <a:lnTo>
                  <a:pt x="0" y="12250"/>
                </a:lnTo>
                <a:lnTo>
                  <a:pt x="3539" y="15790"/>
                </a:lnTo>
                <a:lnTo>
                  <a:pt x="12250" y="15790"/>
                </a:lnTo>
                <a:lnTo>
                  <a:pt x="15790" y="12250"/>
                </a:lnTo>
                <a:lnTo>
                  <a:pt x="15790" y="3539"/>
                </a:lnTo>
                <a:lnTo>
                  <a:pt x="1225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3146278" y="3479257"/>
            <a:ext cx="9627" cy="9627"/>
          </a:xfrm>
          <a:custGeom>
            <a:avLst/>
            <a:gdLst/>
            <a:ahLst/>
            <a:cxnLst/>
            <a:rect l="l" t="t" r="r" b="b"/>
            <a:pathLst>
              <a:path w="15875" h="15875">
                <a:moveTo>
                  <a:pt x="12250" y="0"/>
                </a:moveTo>
                <a:lnTo>
                  <a:pt x="3539" y="0"/>
                </a:lnTo>
                <a:lnTo>
                  <a:pt x="0" y="3539"/>
                </a:lnTo>
                <a:lnTo>
                  <a:pt x="0" y="12250"/>
                </a:lnTo>
                <a:lnTo>
                  <a:pt x="3539" y="15790"/>
                </a:lnTo>
                <a:lnTo>
                  <a:pt x="12250" y="15790"/>
                </a:lnTo>
                <a:lnTo>
                  <a:pt x="15790" y="12250"/>
                </a:lnTo>
                <a:lnTo>
                  <a:pt x="15790" y="3539"/>
                </a:lnTo>
                <a:lnTo>
                  <a:pt x="1225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3117562" y="3606578"/>
            <a:ext cx="9627" cy="9627"/>
          </a:xfrm>
          <a:custGeom>
            <a:avLst/>
            <a:gdLst/>
            <a:ahLst/>
            <a:cxnLst/>
            <a:rect l="l" t="t" r="r" b="b"/>
            <a:pathLst>
              <a:path w="15875" h="15875">
                <a:moveTo>
                  <a:pt x="12250" y="0"/>
                </a:moveTo>
                <a:lnTo>
                  <a:pt x="3539" y="0"/>
                </a:lnTo>
                <a:lnTo>
                  <a:pt x="0" y="3539"/>
                </a:lnTo>
                <a:lnTo>
                  <a:pt x="0" y="12250"/>
                </a:lnTo>
                <a:lnTo>
                  <a:pt x="3539" y="15790"/>
                </a:lnTo>
                <a:lnTo>
                  <a:pt x="12250" y="15790"/>
                </a:lnTo>
                <a:lnTo>
                  <a:pt x="15790" y="12250"/>
                </a:lnTo>
                <a:lnTo>
                  <a:pt x="15790" y="3539"/>
                </a:lnTo>
                <a:lnTo>
                  <a:pt x="1225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3117562" y="3635300"/>
            <a:ext cx="9627" cy="9627"/>
          </a:xfrm>
          <a:custGeom>
            <a:avLst/>
            <a:gdLst/>
            <a:ahLst/>
            <a:cxnLst/>
            <a:rect l="l" t="t" r="r" b="b"/>
            <a:pathLst>
              <a:path w="15875" h="15875">
                <a:moveTo>
                  <a:pt x="12250" y="0"/>
                </a:moveTo>
                <a:lnTo>
                  <a:pt x="3539" y="0"/>
                </a:lnTo>
                <a:lnTo>
                  <a:pt x="0" y="3539"/>
                </a:lnTo>
                <a:lnTo>
                  <a:pt x="0" y="12250"/>
                </a:lnTo>
                <a:lnTo>
                  <a:pt x="3539" y="15790"/>
                </a:lnTo>
                <a:lnTo>
                  <a:pt x="12250" y="15790"/>
                </a:lnTo>
                <a:lnTo>
                  <a:pt x="15790" y="12250"/>
                </a:lnTo>
                <a:lnTo>
                  <a:pt x="15790" y="3539"/>
                </a:lnTo>
                <a:lnTo>
                  <a:pt x="1225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3117562" y="3664022"/>
            <a:ext cx="9627" cy="9627"/>
          </a:xfrm>
          <a:custGeom>
            <a:avLst/>
            <a:gdLst/>
            <a:ahLst/>
            <a:cxnLst/>
            <a:rect l="l" t="t" r="r" b="b"/>
            <a:pathLst>
              <a:path w="15875" h="15875">
                <a:moveTo>
                  <a:pt x="12250" y="0"/>
                </a:moveTo>
                <a:lnTo>
                  <a:pt x="3539" y="0"/>
                </a:lnTo>
                <a:lnTo>
                  <a:pt x="0" y="3528"/>
                </a:lnTo>
                <a:lnTo>
                  <a:pt x="0" y="12250"/>
                </a:lnTo>
                <a:lnTo>
                  <a:pt x="3539" y="15779"/>
                </a:lnTo>
                <a:lnTo>
                  <a:pt x="12250" y="15779"/>
                </a:lnTo>
                <a:lnTo>
                  <a:pt x="15790" y="12250"/>
                </a:lnTo>
                <a:lnTo>
                  <a:pt x="15790" y="3528"/>
                </a:lnTo>
                <a:lnTo>
                  <a:pt x="1225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2990237" y="3458672"/>
            <a:ext cx="245286" cy="245286"/>
          </a:xfrm>
          <a:custGeom>
            <a:avLst/>
            <a:gdLst/>
            <a:ahLst/>
            <a:cxnLst/>
            <a:rect l="l" t="t" r="r" b="b"/>
            <a:pathLst>
              <a:path w="404495" h="404495">
                <a:moveTo>
                  <a:pt x="380470" y="0"/>
                </a:moveTo>
                <a:lnTo>
                  <a:pt x="23685" y="0"/>
                </a:lnTo>
                <a:lnTo>
                  <a:pt x="14475" y="1864"/>
                </a:lnTo>
                <a:lnTo>
                  <a:pt x="6946" y="6946"/>
                </a:lnTo>
                <a:lnTo>
                  <a:pt x="1864" y="14475"/>
                </a:lnTo>
                <a:lnTo>
                  <a:pt x="0" y="23685"/>
                </a:lnTo>
                <a:lnTo>
                  <a:pt x="0" y="380470"/>
                </a:lnTo>
                <a:lnTo>
                  <a:pt x="1864" y="389679"/>
                </a:lnTo>
                <a:lnTo>
                  <a:pt x="6946" y="397209"/>
                </a:lnTo>
                <a:lnTo>
                  <a:pt x="14475" y="402290"/>
                </a:lnTo>
                <a:lnTo>
                  <a:pt x="23685" y="404155"/>
                </a:lnTo>
                <a:lnTo>
                  <a:pt x="380470" y="404155"/>
                </a:lnTo>
                <a:lnTo>
                  <a:pt x="389679" y="402290"/>
                </a:lnTo>
                <a:lnTo>
                  <a:pt x="397209" y="397209"/>
                </a:lnTo>
                <a:lnTo>
                  <a:pt x="402290" y="389679"/>
                </a:lnTo>
                <a:lnTo>
                  <a:pt x="402556" y="388365"/>
                </a:lnTo>
                <a:lnTo>
                  <a:pt x="19329" y="388365"/>
                </a:lnTo>
                <a:lnTo>
                  <a:pt x="15790" y="384815"/>
                </a:lnTo>
                <a:lnTo>
                  <a:pt x="15790" y="83672"/>
                </a:lnTo>
                <a:lnTo>
                  <a:pt x="404155" y="83672"/>
                </a:lnTo>
                <a:lnTo>
                  <a:pt x="404155" y="67882"/>
                </a:lnTo>
                <a:lnTo>
                  <a:pt x="15790" y="67882"/>
                </a:lnTo>
                <a:lnTo>
                  <a:pt x="15790" y="19339"/>
                </a:lnTo>
                <a:lnTo>
                  <a:pt x="19329" y="15790"/>
                </a:lnTo>
                <a:lnTo>
                  <a:pt x="402556" y="15790"/>
                </a:lnTo>
                <a:lnTo>
                  <a:pt x="402290" y="14475"/>
                </a:lnTo>
                <a:lnTo>
                  <a:pt x="397209" y="6946"/>
                </a:lnTo>
                <a:lnTo>
                  <a:pt x="389679" y="1864"/>
                </a:lnTo>
                <a:lnTo>
                  <a:pt x="380470" y="0"/>
                </a:lnTo>
                <a:close/>
              </a:path>
              <a:path w="404495" h="404495">
                <a:moveTo>
                  <a:pt x="404155" y="83672"/>
                </a:moveTo>
                <a:lnTo>
                  <a:pt x="388365" y="83672"/>
                </a:lnTo>
                <a:lnTo>
                  <a:pt x="388365" y="384815"/>
                </a:lnTo>
                <a:lnTo>
                  <a:pt x="384815" y="388365"/>
                </a:lnTo>
                <a:lnTo>
                  <a:pt x="402556" y="388365"/>
                </a:lnTo>
                <a:lnTo>
                  <a:pt x="404155" y="380470"/>
                </a:lnTo>
                <a:lnTo>
                  <a:pt x="404155" y="83672"/>
                </a:lnTo>
                <a:close/>
              </a:path>
              <a:path w="404495" h="404495">
                <a:moveTo>
                  <a:pt x="402556" y="15790"/>
                </a:moveTo>
                <a:lnTo>
                  <a:pt x="384815" y="15790"/>
                </a:lnTo>
                <a:lnTo>
                  <a:pt x="388365" y="19339"/>
                </a:lnTo>
                <a:lnTo>
                  <a:pt x="388365" y="67882"/>
                </a:lnTo>
                <a:lnTo>
                  <a:pt x="404155" y="67882"/>
                </a:lnTo>
                <a:lnTo>
                  <a:pt x="404155" y="23685"/>
                </a:lnTo>
                <a:lnTo>
                  <a:pt x="402556" y="1579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3021826" y="3528560"/>
            <a:ext cx="182136" cy="57760"/>
          </a:xfrm>
          <a:custGeom>
            <a:avLst/>
            <a:gdLst/>
            <a:ahLst/>
            <a:cxnLst/>
            <a:rect l="l" t="t" r="r" b="b"/>
            <a:pathLst>
              <a:path w="300354" h="95250">
                <a:moveTo>
                  <a:pt x="296420" y="0"/>
                </a:moveTo>
                <a:lnTo>
                  <a:pt x="6523" y="125"/>
                </a:lnTo>
                <a:lnTo>
                  <a:pt x="2062" y="2596"/>
                </a:lnTo>
                <a:lnTo>
                  <a:pt x="1780" y="2900"/>
                </a:lnTo>
                <a:lnTo>
                  <a:pt x="0" y="91180"/>
                </a:lnTo>
                <a:lnTo>
                  <a:pt x="3539" y="94719"/>
                </a:lnTo>
                <a:lnTo>
                  <a:pt x="293352" y="94604"/>
                </a:lnTo>
                <a:lnTo>
                  <a:pt x="299921" y="78929"/>
                </a:lnTo>
                <a:lnTo>
                  <a:pt x="15790" y="78929"/>
                </a:lnTo>
                <a:lnTo>
                  <a:pt x="15790" y="18271"/>
                </a:lnTo>
                <a:lnTo>
                  <a:pt x="74744" y="18271"/>
                </a:lnTo>
                <a:lnTo>
                  <a:pt x="65809" y="15790"/>
                </a:lnTo>
                <a:lnTo>
                  <a:pt x="299953" y="15790"/>
                </a:lnTo>
                <a:lnTo>
                  <a:pt x="299959" y="3528"/>
                </a:lnTo>
                <a:lnTo>
                  <a:pt x="296420" y="0"/>
                </a:lnTo>
                <a:close/>
              </a:path>
              <a:path w="300354" h="95250">
                <a:moveTo>
                  <a:pt x="74744" y="18271"/>
                </a:moveTo>
                <a:lnTo>
                  <a:pt x="15790" y="18271"/>
                </a:lnTo>
                <a:lnTo>
                  <a:pt x="234160" y="78929"/>
                </a:lnTo>
                <a:lnTo>
                  <a:pt x="299921" y="78929"/>
                </a:lnTo>
                <a:lnTo>
                  <a:pt x="299923" y="76437"/>
                </a:lnTo>
                <a:lnTo>
                  <a:pt x="284169" y="76437"/>
                </a:lnTo>
                <a:lnTo>
                  <a:pt x="74744" y="18271"/>
                </a:lnTo>
                <a:close/>
              </a:path>
              <a:path w="300354" h="95250">
                <a:moveTo>
                  <a:pt x="299953" y="15790"/>
                </a:moveTo>
                <a:lnTo>
                  <a:pt x="284169" y="15790"/>
                </a:lnTo>
                <a:lnTo>
                  <a:pt x="284169" y="76437"/>
                </a:lnTo>
                <a:lnTo>
                  <a:pt x="299923" y="76437"/>
                </a:lnTo>
                <a:lnTo>
                  <a:pt x="299953" y="1579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3021827" y="3606578"/>
            <a:ext cx="76627" cy="67386"/>
          </a:xfrm>
          <a:custGeom>
            <a:avLst/>
            <a:gdLst/>
            <a:ahLst/>
            <a:cxnLst/>
            <a:rect l="l" t="t" r="r" b="b"/>
            <a:pathLst>
              <a:path w="126364" h="111125">
                <a:moveTo>
                  <a:pt x="122760" y="0"/>
                </a:moveTo>
                <a:lnTo>
                  <a:pt x="6690" y="104"/>
                </a:lnTo>
                <a:lnTo>
                  <a:pt x="0" y="106981"/>
                </a:lnTo>
                <a:lnTo>
                  <a:pt x="3539" y="110509"/>
                </a:lnTo>
                <a:lnTo>
                  <a:pt x="119797" y="110394"/>
                </a:lnTo>
                <a:lnTo>
                  <a:pt x="123158" y="108897"/>
                </a:lnTo>
                <a:lnTo>
                  <a:pt x="123388" y="108740"/>
                </a:lnTo>
                <a:lnTo>
                  <a:pt x="123608" y="108530"/>
                </a:lnTo>
                <a:lnTo>
                  <a:pt x="123797" y="108384"/>
                </a:lnTo>
                <a:lnTo>
                  <a:pt x="124394" y="107755"/>
                </a:lnTo>
                <a:lnTo>
                  <a:pt x="126271" y="94730"/>
                </a:lnTo>
                <a:lnTo>
                  <a:pt x="15790" y="94730"/>
                </a:lnTo>
                <a:lnTo>
                  <a:pt x="15790" y="25067"/>
                </a:lnTo>
                <a:lnTo>
                  <a:pt x="40058" y="25067"/>
                </a:lnTo>
                <a:lnTo>
                  <a:pt x="29234" y="15790"/>
                </a:lnTo>
                <a:lnTo>
                  <a:pt x="126295" y="15790"/>
                </a:lnTo>
                <a:lnTo>
                  <a:pt x="126299" y="3539"/>
                </a:lnTo>
                <a:lnTo>
                  <a:pt x="122760" y="0"/>
                </a:lnTo>
                <a:close/>
              </a:path>
              <a:path w="126364" h="111125">
                <a:moveTo>
                  <a:pt x="40058" y="25067"/>
                </a:moveTo>
                <a:lnTo>
                  <a:pt x="15790" y="25067"/>
                </a:lnTo>
                <a:lnTo>
                  <a:pt x="97065" y="94730"/>
                </a:lnTo>
                <a:lnTo>
                  <a:pt x="126271" y="94730"/>
                </a:lnTo>
                <a:lnTo>
                  <a:pt x="126273" y="85452"/>
                </a:lnTo>
                <a:lnTo>
                  <a:pt x="110509" y="85452"/>
                </a:lnTo>
                <a:lnTo>
                  <a:pt x="40058" y="25067"/>
                </a:lnTo>
                <a:close/>
              </a:path>
              <a:path w="126364" h="111125">
                <a:moveTo>
                  <a:pt x="126295" y="15790"/>
                </a:moveTo>
                <a:lnTo>
                  <a:pt x="110509" y="15790"/>
                </a:lnTo>
                <a:lnTo>
                  <a:pt x="110509" y="85452"/>
                </a:lnTo>
                <a:lnTo>
                  <a:pt x="126273" y="85452"/>
                </a:lnTo>
                <a:lnTo>
                  <a:pt x="126295" y="1579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3136710" y="3606578"/>
            <a:ext cx="67386" cy="9627"/>
          </a:xfrm>
          <a:custGeom>
            <a:avLst/>
            <a:gdLst/>
            <a:ahLst/>
            <a:cxnLst/>
            <a:rect l="l" t="t" r="r" b="b"/>
            <a:pathLst>
              <a:path w="111125" h="15875">
                <a:moveTo>
                  <a:pt x="106970" y="0"/>
                </a:moveTo>
                <a:lnTo>
                  <a:pt x="3528" y="0"/>
                </a:lnTo>
                <a:lnTo>
                  <a:pt x="0" y="3539"/>
                </a:lnTo>
                <a:lnTo>
                  <a:pt x="0" y="12250"/>
                </a:lnTo>
                <a:lnTo>
                  <a:pt x="3528" y="15790"/>
                </a:lnTo>
                <a:lnTo>
                  <a:pt x="106970" y="15790"/>
                </a:lnTo>
                <a:lnTo>
                  <a:pt x="110509" y="12250"/>
                </a:lnTo>
                <a:lnTo>
                  <a:pt x="110509" y="3539"/>
                </a:lnTo>
                <a:lnTo>
                  <a:pt x="10697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3136710" y="3635300"/>
            <a:ext cx="67386" cy="9627"/>
          </a:xfrm>
          <a:custGeom>
            <a:avLst/>
            <a:gdLst/>
            <a:ahLst/>
            <a:cxnLst/>
            <a:rect l="l" t="t" r="r" b="b"/>
            <a:pathLst>
              <a:path w="111125" h="15875">
                <a:moveTo>
                  <a:pt x="106970" y="0"/>
                </a:moveTo>
                <a:lnTo>
                  <a:pt x="3528" y="0"/>
                </a:lnTo>
                <a:lnTo>
                  <a:pt x="0" y="3539"/>
                </a:lnTo>
                <a:lnTo>
                  <a:pt x="0" y="12250"/>
                </a:lnTo>
                <a:lnTo>
                  <a:pt x="3528" y="15790"/>
                </a:lnTo>
                <a:lnTo>
                  <a:pt x="106970" y="15790"/>
                </a:lnTo>
                <a:lnTo>
                  <a:pt x="110509" y="12250"/>
                </a:lnTo>
                <a:lnTo>
                  <a:pt x="110509" y="3539"/>
                </a:lnTo>
                <a:lnTo>
                  <a:pt x="10697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3136710" y="3664022"/>
            <a:ext cx="67386" cy="9627"/>
          </a:xfrm>
          <a:custGeom>
            <a:avLst/>
            <a:gdLst/>
            <a:ahLst/>
            <a:cxnLst/>
            <a:rect l="l" t="t" r="r" b="b"/>
            <a:pathLst>
              <a:path w="111125" h="15875">
                <a:moveTo>
                  <a:pt x="106970" y="0"/>
                </a:moveTo>
                <a:lnTo>
                  <a:pt x="3528" y="0"/>
                </a:lnTo>
                <a:lnTo>
                  <a:pt x="0" y="3528"/>
                </a:lnTo>
                <a:lnTo>
                  <a:pt x="0" y="12250"/>
                </a:lnTo>
                <a:lnTo>
                  <a:pt x="3528" y="15779"/>
                </a:lnTo>
                <a:lnTo>
                  <a:pt x="106970" y="15779"/>
                </a:lnTo>
                <a:lnTo>
                  <a:pt x="110509" y="12250"/>
                </a:lnTo>
                <a:lnTo>
                  <a:pt x="110509" y="3528"/>
                </a:lnTo>
                <a:lnTo>
                  <a:pt x="10697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2892550" y="1930302"/>
            <a:ext cx="438203" cy="438203"/>
          </a:xfrm>
          <a:custGeom>
            <a:avLst/>
            <a:gdLst/>
            <a:ahLst/>
            <a:cxnLst/>
            <a:rect l="l" t="t" r="r" b="b"/>
            <a:pathLst>
              <a:path w="722629" h="722629">
                <a:moveTo>
                  <a:pt x="361245" y="0"/>
                </a:moveTo>
                <a:lnTo>
                  <a:pt x="312226" y="3297"/>
                </a:lnTo>
                <a:lnTo>
                  <a:pt x="265211" y="12903"/>
                </a:lnTo>
                <a:lnTo>
                  <a:pt x="220631" y="28388"/>
                </a:lnTo>
                <a:lnTo>
                  <a:pt x="178917" y="49320"/>
                </a:lnTo>
                <a:lnTo>
                  <a:pt x="140498" y="75269"/>
                </a:lnTo>
                <a:lnTo>
                  <a:pt x="105805" y="105805"/>
                </a:lnTo>
                <a:lnTo>
                  <a:pt x="75269" y="140498"/>
                </a:lnTo>
                <a:lnTo>
                  <a:pt x="49320" y="178917"/>
                </a:lnTo>
                <a:lnTo>
                  <a:pt x="28388" y="220631"/>
                </a:lnTo>
                <a:lnTo>
                  <a:pt x="12903" y="265211"/>
                </a:lnTo>
                <a:lnTo>
                  <a:pt x="3297" y="312226"/>
                </a:lnTo>
                <a:lnTo>
                  <a:pt x="0" y="361245"/>
                </a:lnTo>
                <a:lnTo>
                  <a:pt x="3297" y="410264"/>
                </a:lnTo>
                <a:lnTo>
                  <a:pt x="12903" y="457279"/>
                </a:lnTo>
                <a:lnTo>
                  <a:pt x="28388" y="501859"/>
                </a:lnTo>
                <a:lnTo>
                  <a:pt x="49320" y="543573"/>
                </a:lnTo>
                <a:lnTo>
                  <a:pt x="75269" y="581992"/>
                </a:lnTo>
                <a:lnTo>
                  <a:pt x="105805" y="616685"/>
                </a:lnTo>
                <a:lnTo>
                  <a:pt x="140498" y="647221"/>
                </a:lnTo>
                <a:lnTo>
                  <a:pt x="178917" y="673170"/>
                </a:lnTo>
                <a:lnTo>
                  <a:pt x="220631" y="694102"/>
                </a:lnTo>
                <a:lnTo>
                  <a:pt x="265211" y="709587"/>
                </a:lnTo>
                <a:lnTo>
                  <a:pt x="312226" y="719193"/>
                </a:lnTo>
                <a:lnTo>
                  <a:pt x="361245" y="722491"/>
                </a:lnTo>
                <a:lnTo>
                  <a:pt x="410267" y="719193"/>
                </a:lnTo>
                <a:lnTo>
                  <a:pt x="457283" y="709587"/>
                </a:lnTo>
                <a:lnTo>
                  <a:pt x="501863" y="694102"/>
                </a:lnTo>
                <a:lnTo>
                  <a:pt x="543578" y="673170"/>
                </a:lnTo>
                <a:lnTo>
                  <a:pt x="581997" y="647221"/>
                </a:lnTo>
                <a:lnTo>
                  <a:pt x="616689" y="616685"/>
                </a:lnTo>
                <a:lnTo>
                  <a:pt x="647224" y="581992"/>
                </a:lnTo>
                <a:lnTo>
                  <a:pt x="673173" y="543573"/>
                </a:lnTo>
                <a:lnTo>
                  <a:pt x="694104" y="501859"/>
                </a:lnTo>
                <a:lnTo>
                  <a:pt x="709587" y="457279"/>
                </a:lnTo>
                <a:lnTo>
                  <a:pt x="719193" y="410264"/>
                </a:lnTo>
                <a:lnTo>
                  <a:pt x="722491" y="361245"/>
                </a:lnTo>
                <a:lnTo>
                  <a:pt x="719193" y="312226"/>
                </a:lnTo>
                <a:lnTo>
                  <a:pt x="709587" y="265211"/>
                </a:lnTo>
                <a:lnTo>
                  <a:pt x="694104" y="220631"/>
                </a:lnTo>
                <a:lnTo>
                  <a:pt x="673173" y="178917"/>
                </a:lnTo>
                <a:lnTo>
                  <a:pt x="647224" y="140498"/>
                </a:lnTo>
                <a:lnTo>
                  <a:pt x="616689" y="105805"/>
                </a:lnTo>
                <a:lnTo>
                  <a:pt x="581997" y="75269"/>
                </a:lnTo>
                <a:lnTo>
                  <a:pt x="543578" y="49320"/>
                </a:lnTo>
                <a:lnTo>
                  <a:pt x="501863" y="28388"/>
                </a:lnTo>
                <a:lnTo>
                  <a:pt x="457283" y="12903"/>
                </a:lnTo>
                <a:lnTo>
                  <a:pt x="410267" y="3297"/>
                </a:lnTo>
                <a:lnTo>
                  <a:pt x="361245" y="0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2988622" y="2018808"/>
            <a:ext cx="247211" cy="247211"/>
          </a:xfrm>
          <a:custGeom>
            <a:avLst/>
            <a:gdLst/>
            <a:ahLst/>
            <a:cxnLst/>
            <a:rect l="l" t="t" r="r" b="b"/>
            <a:pathLst>
              <a:path w="407670" h="407670">
                <a:moveTo>
                  <a:pt x="205711" y="0"/>
                </a:moveTo>
                <a:lnTo>
                  <a:pt x="156116" y="5629"/>
                </a:lnTo>
                <a:lnTo>
                  <a:pt x="118530" y="18689"/>
                </a:lnTo>
                <a:lnTo>
                  <a:pt x="84682" y="38492"/>
                </a:lnTo>
                <a:lnTo>
                  <a:pt x="55286" y="64322"/>
                </a:lnTo>
                <a:lnTo>
                  <a:pt x="14807" y="127447"/>
                </a:lnTo>
                <a:lnTo>
                  <a:pt x="3824" y="164263"/>
                </a:lnTo>
                <a:lnTo>
                  <a:pt x="0" y="203616"/>
                </a:lnTo>
                <a:lnTo>
                  <a:pt x="3538" y="241477"/>
                </a:lnTo>
                <a:lnTo>
                  <a:pt x="13714" y="277025"/>
                </a:lnTo>
                <a:lnTo>
                  <a:pt x="29870" y="309616"/>
                </a:lnTo>
                <a:lnTo>
                  <a:pt x="51349" y="338607"/>
                </a:lnTo>
                <a:lnTo>
                  <a:pt x="51443" y="338816"/>
                </a:lnTo>
                <a:lnTo>
                  <a:pt x="51579" y="338984"/>
                </a:lnTo>
                <a:lnTo>
                  <a:pt x="51757" y="339057"/>
                </a:lnTo>
                <a:lnTo>
                  <a:pt x="51893" y="339225"/>
                </a:lnTo>
                <a:lnTo>
                  <a:pt x="81554" y="366463"/>
                </a:lnTo>
                <a:lnTo>
                  <a:pt x="116161" y="387452"/>
                </a:lnTo>
                <a:lnTo>
                  <a:pt x="154816" y="401294"/>
                </a:lnTo>
                <a:lnTo>
                  <a:pt x="196622" y="407087"/>
                </a:lnTo>
                <a:lnTo>
                  <a:pt x="200569" y="407223"/>
                </a:lnTo>
                <a:lnTo>
                  <a:pt x="206747" y="407191"/>
                </a:lnTo>
                <a:lnTo>
                  <a:pt x="210684" y="407087"/>
                </a:lnTo>
                <a:lnTo>
                  <a:pt x="252551" y="401283"/>
                </a:lnTo>
                <a:lnTo>
                  <a:pt x="279705" y="391548"/>
                </a:lnTo>
                <a:lnTo>
                  <a:pt x="178926" y="391548"/>
                </a:lnTo>
                <a:lnTo>
                  <a:pt x="147459" y="384658"/>
                </a:lnTo>
                <a:lnTo>
                  <a:pt x="118178" y="372784"/>
                </a:lnTo>
                <a:lnTo>
                  <a:pt x="91557" y="356394"/>
                </a:lnTo>
                <a:lnTo>
                  <a:pt x="68071" y="335958"/>
                </a:lnTo>
                <a:lnTo>
                  <a:pt x="80719" y="328091"/>
                </a:lnTo>
                <a:lnTo>
                  <a:pt x="85608" y="325445"/>
                </a:lnTo>
                <a:lnTo>
                  <a:pt x="58500" y="325445"/>
                </a:lnTo>
                <a:lnTo>
                  <a:pt x="40713" y="300433"/>
                </a:lnTo>
                <a:lnTo>
                  <a:pt x="27099" y="272661"/>
                </a:lnTo>
                <a:lnTo>
                  <a:pt x="18121" y="242580"/>
                </a:lnTo>
                <a:lnTo>
                  <a:pt x="14240" y="210642"/>
                </a:lnTo>
                <a:lnTo>
                  <a:pt x="406641" y="210642"/>
                </a:lnTo>
                <a:lnTo>
                  <a:pt x="407296" y="203616"/>
                </a:lnTo>
                <a:lnTo>
                  <a:pt x="406613" y="196580"/>
                </a:lnTo>
                <a:lnTo>
                  <a:pt x="14240" y="196580"/>
                </a:lnTo>
                <a:lnTo>
                  <a:pt x="18448" y="163173"/>
                </a:lnTo>
                <a:lnTo>
                  <a:pt x="28213" y="131817"/>
                </a:lnTo>
                <a:lnTo>
                  <a:pt x="43021" y="103046"/>
                </a:lnTo>
                <a:lnTo>
                  <a:pt x="62354" y="77390"/>
                </a:lnTo>
                <a:lnTo>
                  <a:pt x="90424" y="77390"/>
                </a:lnTo>
                <a:lnTo>
                  <a:pt x="84625" y="74385"/>
                </a:lnTo>
                <a:lnTo>
                  <a:pt x="120892" y="33102"/>
                </a:lnTo>
                <a:lnTo>
                  <a:pt x="178926" y="15674"/>
                </a:lnTo>
                <a:lnTo>
                  <a:pt x="280119" y="15674"/>
                </a:lnTo>
                <a:lnTo>
                  <a:pt x="251213" y="5629"/>
                </a:lnTo>
                <a:lnTo>
                  <a:pt x="210716" y="136"/>
                </a:lnTo>
                <a:lnTo>
                  <a:pt x="205711" y="0"/>
                </a:lnTo>
                <a:close/>
              </a:path>
              <a:path w="407670" h="407670">
                <a:moveTo>
                  <a:pt x="136552" y="309425"/>
                </a:moveTo>
                <a:lnTo>
                  <a:pt x="120844" y="309425"/>
                </a:lnTo>
                <a:lnTo>
                  <a:pt x="132210" y="331855"/>
                </a:lnTo>
                <a:lnTo>
                  <a:pt x="145719" y="353113"/>
                </a:lnTo>
                <a:lnTo>
                  <a:pt x="161310" y="373057"/>
                </a:lnTo>
                <a:lnTo>
                  <a:pt x="178926" y="391548"/>
                </a:lnTo>
                <a:lnTo>
                  <a:pt x="228380" y="391548"/>
                </a:lnTo>
                <a:lnTo>
                  <a:pt x="231085" y="388710"/>
                </a:lnTo>
                <a:lnTo>
                  <a:pt x="196622" y="388710"/>
                </a:lnTo>
                <a:lnTo>
                  <a:pt x="177540" y="370174"/>
                </a:lnTo>
                <a:lnTo>
                  <a:pt x="160732" y="349929"/>
                </a:lnTo>
                <a:lnTo>
                  <a:pt x="146247" y="328091"/>
                </a:lnTo>
                <a:lnTo>
                  <a:pt x="136552" y="309425"/>
                </a:lnTo>
                <a:close/>
              </a:path>
              <a:path w="407670" h="407670">
                <a:moveTo>
                  <a:pt x="321676" y="309425"/>
                </a:moveTo>
                <a:lnTo>
                  <a:pt x="286462" y="309425"/>
                </a:lnTo>
                <a:lnTo>
                  <a:pt x="300171" y="314812"/>
                </a:lnTo>
                <a:lnTo>
                  <a:pt x="313559" y="321038"/>
                </a:lnTo>
                <a:lnTo>
                  <a:pt x="326691" y="328148"/>
                </a:lnTo>
                <a:lnTo>
                  <a:pt x="339267" y="335958"/>
                </a:lnTo>
                <a:lnTo>
                  <a:pt x="315762" y="356394"/>
                </a:lnTo>
                <a:lnTo>
                  <a:pt x="289132" y="372784"/>
                </a:lnTo>
                <a:lnTo>
                  <a:pt x="259848" y="384658"/>
                </a:lnTo>
                <a:lnTo>
                  <a:pt x="228380" y="391548"/>
                </a:lnTo>
                <a:lnTo>
                  <a:pt x="279705" y="391548"/>
                </a:lnTo>
                <a:lnTo>
                  <a:pt x="291242" y="387412"/>
                </a:lnTo>
                <a:lnTo>
                  <a:pt x="325880" y="366379"/>
                </a:lnTo>
                <a:lnTo>
                  <a:pt x="355559" y="339089"/>
                </a:lnTo>
                <a:lnTo>
                  <a:pt x="355622" y="338953"/>
                </a:lnTo>
                <a:lnTo>
                  <a:pt x="355790" y="338921"/>
                </a:lnTo>
                <a:lnTo>
                  <a:pt x="355978" y="338607"/>
                </a:lnTo>
                <a:lnTo>
                  <a:pt x="365731" y="325445"/>
                </a:lnTo>
                <a:lnTo>
                  <a:pt x="348795" y="325445"/>
                </a:lnTo>
                <a:lnTo>
                  <a:pt x="335155" y="316818"/>
                </a:lnTo>
                <a:lnTo>
                  <a:pt x="321676" y="309425"/>
                </a:lnTo>
                <a:close/>
              </a:path>
              <a:path w="407670" h="407670">
                <a:moveTo>
                  <a:pt x="210684" y="295163"/>
                </a:moveTo>
                <a:lnTo>
                  <a:pt x="196622" y="295163"/>
                </a:lnTo>
                <a:lnTo>
                  <a:pt x="196622" y="388710"/>
                </a:lnTo>
                <a:lnTo>
                  <a:pt x="210684" y="388710"/>
                </a:lnTo>
                <a:lnTo>
                  <a:pt x="210684" y="295163"/>
                </a:lnTo>
                <a:close/>
              </a:path>
              <a:path w="407670" h="407670">
                <a:moveTo>
                  <a:pt x="292278" y="295163"/>
                </a:moveTo>
                <a:lnTo>
                  <a:pt x="210684" y="295163"/>
                </a:lnTo>
                <a:lnTo>
                  <a:pt x="226597" y="296127"/>
                </a:lnTo>
                <a:lnTo>
                  <a:pt x="242319" y="298090"/>
                </a:lnTo>
                <a:lnTo>
                  <a:pt x="257818" y="301050"/>
                </a:lnTo>
                <a:lnTo>
                  <a:pt x="273059" y="305006"/>
                </a:lnTo>
                <a:lnTo>
                  <a:pt x="261050" y="328148"/>
                </a:lnTo>
                <a:lnTo>
                  <a:pt x="246588" y="349929"/>
                </a:lnTo>
                <a:lnTo>
                  <a:pt x="229767" y="370174"/>
                </a:lnTo>
                <a:lnTo>
                  <a:pt x="210684" y="388710"/>
                </a:lnTo>
                <a:lnTo>
                  <a:pt x="231085" y="388710"/>
                </a:lnTo>
                <a:lnTo>
                  <a:pt x="246013" y="373051"/>
                </a:lnTo>
                <a:lnTo>
                  <a:pt x="261621" y="353097"/>
                </a:lnTo>
                <a:lnTo>
                  <a:pt x="275127" y="331838"/>
                </a:lnTo>
                <a:lnTo>
                  <a:pt x="286462" y="309425"/>
                </a:lnTo>
                <a:lnTo>
                  <a:pt x="321676" y="309425"/>
                </a:lnTo>
                <a:lnTo>
                  <a:pt x="321098" y="309108"/>
                </a:lnTo>
                <a:lnTo>
                  <a:pt x="306655" y="302313"/>
                </a:lnTo>
                <a:lnTo>
                  <a:pt x="291854" y="296430"/>
                </a:lnTo>
                <a:lnTo>
                  <a:pt x="292278" y="295163"/>
                </a:lnTo>
                <a:close/>
              </a:path>
              <a:path w="407670" h="407670">
                <a:moveTo>
                  <a:pt x="112572" y="210642"/>
                </a:moveTo>
                <a:lnTo>
                  <a:pt x="98531" y="210642"/>
                </a:lnTo>
                <a:lnTo>
                  <a:pt x="100052" y="232792"/>
                </a:lnTo>
                <a:lnTo>
                  <a:pt x="103419" y="254538"/>
                </a:lnTo>
                <a:lnTo>
                  <a:pt x="108583" y="275783"/>
                </a:lnTo>
                <a:lnTo>
                  <a:pt x="115493" y="296430"/>
                </a:lnTo>
                <a:lnTo>
                  <a:pt x="100672" y="302313"/>
                </a:lnTo>
                <a:lnTo>
                  <a:pt x="86212" y="309108"/>
                </a:lnTo>
                <a:lnTo>
                  <a:pt x="72144" y="316818"/>
                </a:lnTo>
                <a:lnTo>
                  <a:pt x="58500" y="325445"/>
                </a:lnTo>
                <a:lnTo>
                  <a:pt x="85608" y="325445"/>
                </a:lnTo>
                <a:lnTo>
                  <a:pt x="93751" y="321038"/>
                </a:lnTo>
                <a:lnTo>
                  <a:pt x="107135" y="314812"/>
                </a:lnTo>
                <a:lnTo>
                  <a:pt x="120844" y="309425"/>
                </a:lnTo>
                <a:lnTo>
                  <a:pt x="136552" y="309425"/>
                </a:lnTo>
                <a:lnTo>
                  <a:pt x="134257" y="305006"/>
                </a:lnTo>
                <a:lnTo>
                  <a:pt x="149494" y="301050"/>
                </a:lnTo>
                <a:lnTo>
                  <a:pt x="164992" y="298090"/>
                </a:lnTo>
                <a:lnTo>
                  <a:pt x="180714" y="296127"/>
                </a:lnTo>
                <a:lnTo>
                  <a:pt x="196622" y="295163"/>
                </a:lnTo>
                <a:lnTo>
                  <a:pt x="292278" y="295163"/>
                </a:lnTo>
                <a:lnTo>
                  <a:pt x="293342" y="291980"/>
                </a:lnTo>
                <a:lnTo>
                  <a:pt x="278515" y="291980"/>
                </a:lnTo>
                <a:lnTo>
                  <a:pt x="278357" y="291938"/>
                </a:lnTo>
                <a:lnTo>
                  <a:pt x="128802" y="291938"/>
                </a:lnTo>
                <a:lnTo>
                  <a:pt x="122212" y="272386"/>
                </a:lnTo>
                <a:lnTo>
                  <a:pt x="117283" y="252256"/>
                </a:lnTo>
                <a:lnTo>
                  <a:pt x="114055" y="231644"/>
                </a:lnTo>
                <a:lnTo>
                  <a:pt x="112572" y="210642"/>
                </a:lnTo>
                <a:close/>
              </a:path>
              <a:path w="407670" h="407670">
                <a:moveTo>
                  <a:pt x="406641" y="210642"/>
                </a:moveTo>
                <a:lnTo>
                  <a:pt x="393097" y="210642"/>
                </a:lnTo>
                <a:lnTo>
                  <a:pt x="389204" y="242580"/>
                </a:lnTo>
                <a:lnTo>
                  <a:pt x="380225" y="272661"/>
                </a:lnTo>
                <a:lnTo>
                  <a:pt x="366606" y="300433"/>
                </a:lnTo>
                <a:lnTo>
                  <a:pt x="348795" y="325445"/>
                </a:lnTo>
                <a:lnTo>
                  <a:pt x="365731" y="325445"/>
                </a:lnTo>
                <a:lnTo>
                  <a:pt x="377461" y="309616"/>
                </a:lnTo>
                <a:lnTo>
                  <a:pt x="393605" y="277025"/>
                </a:lnTo>
                <a:lnTo>
                  <a:pt x="403766" y="241477"/>
                </a:lnTo>
                <a:lnTo>
                  <a:pt x="406641" y="210642"/>
                </a:lnTo>
                <a:close/>
              </a:path>
              <a:path w="407670" h="407670">
                <a:moveTo>
                  <a:pt x="308786" y="210642"/>
                </a:moveTo>
                <a:lnTo>
                  <a:pt x="294765" y="210642"/>
                </a:lnTo>
                <a:lnTo>
                  <a:pt x="293282" y="231644"/>
                </a:lnTo>
                <a:lnTo>
                  <a:pt x="290052" y="252261"/>
                </a:lnTo>
                <a:lnTo>
                  <a:pt x="285121" y="272386"/>
                </a:lnTo>
                <a:lnTo>
                  <a:pt x="278515" y="291980"/>
                </a:lnTo>
                <a:lnTo>
                  <a:pt x="293342" y="291980"/>
                </a:lnTo>
                <a:lnTo>
                  <a:pt x="298758" y="275783"/>
                </a:lnTo>
                <a:lnTo>
                  <a:pt x="303909" y="254538"/>
                </a:lnTo>
                <a:lnTo>
                  <a:pt x="307265" y="232792"/>
                </a:lnTo>
                <a:lnTo>
                  <a:pt x="308786" y="210642"/>
                </a:lnTo>
                <a:close/>
              </a:path>
              <a:path w="407670" h="407670">
                <a:moveTo>
                  <a:pt x="210684" y="210642"/>
                </a:moveTo>
                <a:lnTo>
                  <a:pt x="196622" y="210642"/>
                </a:lnTo>
                <a:lnTo>
                  <a:pt x="196622" y="281132"/>
                </a:lnTo>
                <a:lnTo>
                  <a:pt x="179302" y="282160"/>
                </a:lnTo>
                <a:lnTo>
                  <a:pt x="162182" y="284306"/>
                </a:lnTo>
                <a:lnTo>
                  <a:pt x="145295" y="287577"/>
                </a:lnTo>
                <a:lnTo>
                  <a:pt x="128802" y="291938"/>
                </a:lnTo>
                <a:lnTo>
                  <a:pt x="278357" y="291938"/>
                </a:lnTo>
                <a:lnTo>
                  <a:pt x="261870" y="287560"/>
                </a:lnTo>
                <a:lnTo>
                  <a:pt x="245068" y="284301"/>
                </a:lnTo>
                <a:lnTo>
                  <a:pt x="227992" y="282160"/>
                </a:lnTo>
                <a:lnTo>
                  <a:pt x="210684" y="281132"/>
                </a:lnTo>
                <a:lnTo>
                  <a:pt x="210684" y="210642"/>
                </a:lnTo>
                <a:close/>
              </a:path>
              <a:path w="407670" h="407670">
                <a:moveTo>
                  <a:pt x="90424" y="77390"/>
                </a:moveTo>
                <a:lnTo>
                  <a:pt x="62354" y="77390"/>
                </a:lnTo>
                <a:lnTo>
                  <a:pt x="75664" y="85477"/>
                </a:lnTo>
                <a:lnTo>
                  <a:pt x="89365" y="92715"/>
                </a:lnTo>
                <a:lnTo>
                  <a:pt x="103428" y="99107"/>
                </a:lnTo>
                <a:lnTo>
                  <a:pt x="117828" y="104656"/>
                </a:lnTo>
                <a:lnTo>
                  <a:pt x="109927" y="126682"/>
                </a:lnTo>
                <a:lnTo>
                  <a:pt x="104049" y="149432"/>
                </a:lnTo>
                <a:lnTo>
                  <a:pt x="100235" y="172775"/>
                </a:lnTo>
                <a:lnTo>
                  <a:pt x="98531" y="196580"/>
                </a:lnTo>
                <a:lnTo>
                  <a:pt x="112572" y="196580"/>
                </a:lnTo>
                <a:lnTo>
                  <a:pt x="114250" y="173883"/>
                </a:lnTo>
                <a:lnTo>
                  <a:pt x="117964" y="151641"/>
                </a:lnTo>
                <a:lnTo>
                  <a:pt x="123666" y="129977"/>
                </a:lnTo>
                <a:lnTo>
                  <a:pt x="131304" y="109012"/>
                </a:lnTo>
                <a:lnTo>
                  <a:pt x="291053" y="109012"/>
                </a:lnTo>
                <a:lnTo>
                  <a:pt x="289623" y="105033"/>
                </a:lnTo>
                <a:lnTo>
                  <a:pt x="196622" y="105033"/>
                </a:lnTo>
                <a:lnTo>
                  <a:pt x="181472" y="104152"/>
                </a:lnTo>
                <a:lnTo>
                  <a:pt x="166494" y="102350"/>
                </a:lnTo>
                <a:lnTo>
                  <a:pt x="151717" y="99641"/>
                </a:lnTo>
                <a:lnTo>
                  <a:pt x="137168" y="96038"/>
                </a:lnTo>
                <a:lnTo>
                  <a:pt x="139525" y="91756"/>
                </a:lnTo>
                <a:lnTo>
                  <a:pt x="123545" y="91756"/>
                </a:lnTo>
                <a:lnTo>
                  <a:pt x="110264" y="86738"/>
                </a:lnTo>
                <a:lnTo>
                  <a:pt x="97282" y="80943"/>
                </a:lnTo>
                <a:lnTo>
                  <a:pt x="90424" y="77390"/>
                </a:lnTo>
                <a:close/>
              </a:path>
              <a:path w="407670" h="407670">
                <a:moveTo>
                  <a:pt x="276033" y="109012"/>
                </a:moveTo>
                <a:lnTo>
                  <a:pt x="131304" y="109012"/>
                </a:lnTo>
                <a:lnTo>
                  <a:pt x="147263" y="113080"/>
                </a:lnTo>
                <a:lnTo>
                  <a:pt x="163496" y="116122"/>
                </a:lnTo>
                <a:lnTo>
                  <a:pt x="179962" y="118126"/>
                </a:lnTo>
                <a:lnTo>
                  <a:pt x="196622" y="119085"/>
                </a:lnTo>
                <a:lnTo>
                  <a:pt x="196622" y="196580"/>
                </a:lnTo>
                <a:lnTo>
                  <a:pt x="210684" y="196580"/>
                </a:lnTo>
                <a:lnTo>
                  <a:pt x="210684" y="119085"/>
                </a:lnTo>
                <a:lnTo>
                  <a:pt x="227338" y="118126"/>
                </a:lnTo>
                <a:lnTo>
                  <a:pt x="243806" y="116122"/>
                </a:lnTo>
                <a:lnTo>
                  <a:pt x="260050" y="113080"/>
                </a:lnTo>
                <a:lnTo>
                  <a:pt x="276033" y="109012"/>
                </a:lnTo>
                <a:close/>
              </a:path>
              <a:path w="407670" h="407670">
                <a:moveTo>
                  <a:pt x="291053" y="109012"/>
                </a:moveTo>
                <a:lnTo>
                  <a:pt x="276033" y="109012"/>
                </a:lnTo>
                <a:lnTo>
                  <a:pt x="283675" y="129977"/>
                </a:lnTo>
                <a:lnTo>
                  <a:pt x="289373" y="151641"/>
                </a:lnTo>
                <a:lnTo>
                  <a:pt x="293084" y="173883"/>
                </a:lnTo>
                <a:lnTo>
                  <a:pt x="294765" y="196580"/>
                </a:lnTo>
                <a:lnTo>
                  <a:pt x="308786" y="196580"/>
                </a:lnTo>
                <a:lnTo>
                  <a:pt x="307081" y="172775"/>
                </a:lnTo>
                <a:lnTo>
                  <a:pt x="303276" y="149432"/>
                </a:lnTo>
                <a:lnTo>
                  <a:pt x="297401" y="126682"/>
                </a:lnTo>
                <a:lnTo>
                  <a:pt x="291053" y="109012"/>
                </a:lnTo>
                <a:close/>
              </a:path>
              <a:path w="407670" h="407670">
                <a:moveTo>
                  <a:pt x="362237" y="77390"/>
                </a:moveTo>
                <a:lnTo>
                  <a:pt x="344963" y="77390"/>
                </a:lnTo>
                <a:lnTo>
                  <a:pt x="364295" y="103046"/>
                </a:lnTo>
                <a:lnTo>
                  <a:pt x="379110" y="131817"/>
                </a:lnTo>
                <a:lnTo>
                  <a:pt x="388885" y="163173"/>
                </a:lnTo>
                <a:lnTo>
                  <a:pt x="393097" y="196580"/>
                </a:lnTo>
                <a:lnTo>
                  <a:pt x="406613" y="196580"/>
                </a:lnTo>
                <a:lnTo>
                  <a:pt x="403477" y="164263"/>
                </a:lnTo>
                <a:lnTo>
                  <a:pt x="392507" y="127447"/>
                </a:lnTo>
                <a:lnTo>
                  <a:pt x="375115" y="93892"/>
                </a:lnTo>
                <a:lnTo>
                  <a:pt x="362237" y="77390"/>
                </a:lnTo>
                <a:close/>
              </a:path>
              <a:path w="407670" h="407670">
                <a:moveTo>
                  <a:pt x="210684" y="18512"/>
                </a:moveTo>
                <a:lnTo>
                  <a:pt x="196622" y="18512"/>
                </a:lnTo>
                <a:lnTo>
                  <a:pt x="196622" y="105033"/>
                </a:lnTo>
                <a:lnTo>
                  <a:pt x="210684" y="105033"/>
                </a:lnTo>
                <a:lnTo>
                  <a:pt x="210684" y="18512"/>
                </a:lnTo>
                <a:close/>
              </a:path>
              <a:path w="407670" h="407670">
                <a:moveTo>
                  <a:pt x="231103" y="18512"/>
                </a:moveTo>
                <a:lnTo>
                  <a:pt x="210684" y="18512"/>
                </a:lnTo>
                <a:lnTo>
                  <a:pt x="228593" y="35776"/>
                </a:lnTo>
                <a:lnTo>
                  <a:pt x="244526" y="54550"/>
                </a:lnTo>
                <a:lnTo>
                  <a:pt x="258410" y="74687"/>
                </a:lnTo>
                <a:lnTo>
                  <a:pt x="270169" y="96038"/>
                </a:lnTo>
                <a:lnTo>
                  <a:pt x="255600" y="99641"/>
                </a:lnTo>
                <a:lnTo>
                  <a:pt x="240812" y="102350"/>
                </a:lnTo>
                <a:lnTo>
                  <a:pt x="225830" y="104152"/>
                </a:lnTo>
                <a:lnTo>
                  <a:pt x="210684" y="105033"/>
                </a:lnTo>
                <a:lnTo>
                  <a:pt x="289623" y="105033"/>
                </a:lnTo>
                <a:lnTo>
                  <a:pt x="289488" y="104656"/>
                </a:lnTo>
                <a:lnTo>
                  <a:pt x="303887" y="99107"/>
                </a:lnTo>
                <a:lnTo>
                  <a:pt x="317956" y="92715"/>
                </a:lnTo>
                <a:lnTo>
                  <a:pt x="319772" y="91756"/>
                </a:lnTo>
                <a:lnTo>
                  <a:pt x="283781" y="91756"/>
                </a:lnTo>
                <a:lnTo>
                  <a:pt x="272685" y="71055"/>
                </a:lnTo>
                <a:lnTo>
                  <a:pt x="259705" y="51402"/>
                </a:lnTo>
                <a:lnTo>
                  <a:pt x="244913" y="32906"/>
                </a:lnTo>
                <a:lnTo>
                  <a:pt x="231103" y="18512"/>
                </a:lnTo>
                <a:close/>
              </a:path>
              <a:path w="407670" h="407670">
                <a:moveTo>
                  <a:pt x="228380" y="15674"/>
                </a:moveTo>
                <a:lnTo>
                  <a:pt x="178926" y="15674"/>
                </a:lnTo>
                <a:lnTo>
                  <a:pt x="162388" y="32906"/>
                </a:lnTo>
                <a:lnTo>
                  <a:pt x="147596" y="51402"/>
                </a:lnTo>
                <a:lnTo>
                  <a:pt x="134624" y="71055"/>
                </a:lnTo>
                <a:lnTo>
                  <a:pt x="123545" y="91756"/>
                </a:lnTo>
                <a:lnTo>
                  <a:pt x="139525" y="91756"/>
                </a:lnTo>
                <a:lnTo>
                  <a:pt x="148921" y="74687"/>
                </a:lnTo>
                <a:lnTo>
                  <a:pt x="162800" y="54550"/>
                </a:lnTo>
                <a:lnTo>
                  <a:pt x="178726" y="35776"/>
                </a:lnTo>
                <a:lnTo>
                  <a:pt x="196622" y="18512"/>
                </a:lnTo>
                <a:lnTo>
                  <a:pt x="231103" y="18512"/>
                </a:lnTo>
                <a:lnTo>
                  <a:pt x="228380" y="15674"/>
                </a:lnTo>
                <a:close/>
              </a:path>
              <a:path w="407670" h="407670">
                <a:moveTo>
                  <a:pt x="280119" y="15674"/>
                </a:moveTo>
                <a:lnTo>
                  <a:pt x="228380" y="15674"/>
                </a:lnTo>
                <a:lnTo>
                  <a:pt x="258396" y="22114"/>
                </a:lnTo>
                <a:lnTo>
                  <a:pt x="286445" y="33102"/>
                </a:lnTo>
                <a:lnTo>
                  <a:pt x="312121" y="48226"/>
                </a:lnTo>
                <a:lnTo>
                  <a:pt x="335015" y="67076"/>
                </a:lnTo>
                <a:lnTo>
                  <a:pt x="322693" y="74385"/>
                </a:lnTo>
                <a:lnTo>
                  <a:pt x="310027" y="80943"/>
                </a:lnTo>
                <a:lnTo>
                  <a:pt x="297046" y="86738"/>
                </a:lnTo>
                <a:lnTo>
                  <a:pt x="283781" y="91756"/>
                </a:lnTo>
                <a:lnTo>
                  <a:pt x="319772" y="91756"/>
                </a:lnTo>
                <a:lnTo>
                  <a:pt x="331660" y="85477"/>
                </a:lnTo>
                <a:lnTo>
                  <a:pt x="344963" y="77390"/>
                </a:lnTo>
                <a:lnTo>
                  <a:pt x="362237" y="77390"/>
                </a:lnTo>
                <a:lnTo>
                  <a:pt x="351957" y="64217"/>
                </a:lnTo>
                <a:lnTo>
                  <a:pt x="322645" y="38492"/>
                </a:lnTo>
                <a:lnTo>
                  <a:pt x="288793" y="18689"/>
                </a:lnTo>
                <a:lnTo>
                  <a:pt x="280119" y="1567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860978" y="4965656"/>
            <a:ext cx="438203" cy="438203"/>
          </a:xfrm>
          <a:custGeom>
            <a:avLst/>
            <a:gdLst/>
            <a:ahLst/>
            <a:cxnLst/>
            <a:rect l="l" t="t" r="r" b="b"/>
            <a:pathLst>
              <a:path w="722630" h="722629">
                <a:moveTo>
                  <a:pt x="361245" y="0"/>
                </a:moveTo>
                <a:lnTo>
                  <a:pt x="312226" y="3297"/>
                </a:lnTo>
                <a:lnTo>
                  <a:pt x="265211" y="12903"/>
                </a:lnTo>
                <a:lnTo>
                  <a:pt x="220631" y="28388"/>
                </a:lnTo>
                <a:lnTo>
                  <a:pt x="178917" y="49320"/>
                </a:lnTo>
                <a:lnTo>
                  <a:pt x="140498" y="75269"/>
                </a:lnTo>
                <a:lnTo>
                  <a:pt x="105805" y="105805"/>
                </a:lnTo>
                <a:lnTo>
                  <a:pt x="75269" y="140498"/>
                </a:lnTo>
                <a:lnTo>
                  <a:pt x="49320" y="178917"/>
                </a:lnTo>
                <a:lnTo>
                  <a:pt x="28388" y="220631"/>
                </a:lnTo>
                <a:lnTo>
                  <a:pt x="12903" y="265211"/>
                </a:lnTo>
                <a:lnTo>
                  <a:pt x="3297" y="312226"/>
                </a:lnTo>
                <a:lnTo>
                  <a:pt x="0" y="361245"/>
                </a:lnTo>
                <a:lnTo>
                  <a:pt x="3297" y="410264"/>
                </a:lnTo>
                <a:lnTo>
                  <a:pt x="12903" y="457279"/>
                </a:lnTo>
                <a:lnTo>
                  <a:pt x="28388" y="501859"/>
                </a:lnTo>
                <a:lnTo>
                  <a:pt x="49320" y="543573"/>
                </a:lnTo>
                <a:lnTo>
                  <a:pt x="75269" y="581992"/>
                </a:lnTo>
                <a:lnTo>
                  <a:pt x="105805" y="616685"/>
                </a:lnTo>
                <a:lnTo>
                  <a:pt x="140498" y="647221"/>
                </a:lnTo>
                <a:lnTo>
                  <a:pt x="178917" y="673170"/>
                </a:lnTo>
                <a:lnTo>
                  <a:pt x="220631" y="694102"/>
                </a:lnTo>
                <a:lnTo>
                  <a:pt x="265211" y="709587"/>
                </a:lnTo>
                <a:lnTo>
                  <a:pt x="312226" y="719193"/>
                </a:lnTo>
                <a:lnTo>
                  <a:pt x="361245" y="722491"/>
                </a:lnTo>
                <a:lnTo>
                  <a:pt x="410264" y="719193"/>
                </a:lnTo>
                <a:lnTo>
                  <a:pt x="457279" y="709587"/>
                </a:lnTo>
                <a:lnTo>
                  <a:pt x="501859" y="694102"/>
                </a:lnTo>
                <a:lnTo>
                  <a:pt x="543573" y="673170"/>
                </a:lnTo>
                <a:lnTo>
                  <a:pt x="581992" y="647221"/>
                </a:lnTo>
                <a:lnTo>
                  <a:pt x="616685" y="616685"/>
                </a:lnTo>
                <a:lnTo>
                  <a:pt x="647221" y="581992"/>
                </a:lnTo>
                <a:lnTo>
                  <a:pt x="673170" y="543573"/>
                </a:lnTo>
                <a:lnTo>
                  <a:pt x="694102" y="501859"/>
                </a:lnTo>
                <a:lnTo>
                  <a:pt x="709587" y="457279"/>
                </a:lnTo>
                <a:lnTo>
                  <a:pt x="719193" y="410264"/>
                </a:lnTo>
                <a:lnTo>
                  <a:pt x="722491" y="361245"/>
                </a:lnTo>
                <a:lnTo>
                  <a:pt x="719193" y="312226"/>
                </a:lnTo>
                <a:lnTo>
                  <a:pt x="709587" y="265211"/>
                </a:lnTo>
                <a:lnTo>
                  <a:pt x="694102" y="220631"/>
                </a:lnTo>
                <a:lnTo>
                  <a:pt x="673170" y="178917"/>
                </a:lnTo>
                <a:lnTo>
                  <a:pt x="647221" y="140498"/>
                </a:lnTo>
                <a:lnTo>
                  <a:pt x="616685" y="105805"/>
                </a:lnTo>
                <a:lnTo>
                  <a:pt x="581992" y="75269"/>
                </a:lnTo>
                <a:lnTo>
                  <a:pt x="543573" y="49320"/>
                </a:lnTo>
                <a:lnTo>
                  <a:pt x="501859" y="28388"/>
                </a:lnTo>
                <a:lnTo>
                  <a:pt x="457279" y="12903"/>
                </a:lnTo>
                <a:lnTo>
                  <a:pt x="410264" y="3297"/>
                </a:lnTo>
                <a:lnTo>
                  <a:pt x="361245" y="0"/>
                </a:lnTo>
                <a:close/>
              </a:path>
            </a:pathLst>
          </a:custGeom>
          <a:solidFill>
            <a:srgbClr val="158FD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926718" y="5069080"/>
            <a:ext cx="304971" cy="203314"/>
          </a:xfrm>
          <a:custGeom>
            <a:avLst/>
            <a:gdLst/>
            <a:ahLst/>
            <a:cxnLst/>
            <a:rect l="l" t="t" r="r" b="b"/>
            <a:pathLst>
              <a:path w="502919" h="335279">
                <a:moveTo>
                  <a:pt x="136896" y="50270"/>
                </a:moveTo>
                <a:lnTo>
                  <a:pt x="134048" y="50270"/>
                </a:lnTo>
                <a:lnTo>
                  <a:pt x="104715" y="56204"/>
                </a:lnTo>
                <a:lnTo>
                  <a:pt x="80754" y="72376"/>
                </a:lnTo>
                <a:lnTo>
                  <a:pt x="64594" y="96339"/>
                </a:lnTo>
                <a:lnTo>
                  <a:pt x="58668" y="125650"/>
                </a:lnTo>
                <a:lnTo>
                  <a:pt x="58773" y="128844"/>
                </a:lnTo>
                <a:lnTo>
                  <a:pt x="34888" y="146673"/>
                </a:lnTo>
                <a:lnTo>
                  <a:pt x="16318" y="170345"/>
                </a:lnTo>
                <a:lnTo>
                  <a:pt x="4282" y="197920"/>
                </a:lnTo>
                <a:lnTo>
                  <a:pt x="0" y="227459"/>
                </a:lnTo>
                <a:lnTo>
                  <a:pt x="8468" y="269312"/>
                </a:lnTo>
                <a:lnTo>
                  <a:pt x="31548" y="303524"/>
                </a:lnTo>
                <a:lnTo>
                  <a:pt x="65757" y="326609"/>
                </a:lnTo>
                <a:lnTo>
                  <a:pt x="107609" y="335078"/>
                </a:lnTo>
                <a:lnTo>
                  <a:pt x="402544" y="334942"/>
                </a:lnTo>
                <a:lnTo>
                  <a:pt x="441045" y="327147"/>
                </a:lnTo>
                <a:lnTo>
                  <a:pt x="454163" y="318293"/>
                </a:lnTo>
                <a:lnTo>
                  <a:pt x="107609" y="318293"/>
                </a:lnTo>
                <a:lnTo>
                  <a:pt x="72280" y="311146"/>
                </a:lnTo>
                <a:lnTo>
                  <a:pt x="43408" y="291665"/>
                </a:lnTo>
                <a:lnTo>
                  <a:pt x="23930" y="262789"/>
                </a:lnTo>
                <a:lnTo>
                  <a:pt x="16784" y="227459"/>
                </a:lnTo>
                <a:lnTo>
                  <a:pt x="20812" y="201454"/>
                </a:lnTo>
                <a:lnTo>
                  <a:pt x="32013" y="177067"/>
                </a:lnTo>
                <a:lnTo>
                  <a:pt x="49062" y="156403"/>
                </a:lnTo>
                <a:lnTo>
                  <a:pt x="70636" y="141566"/>
                </a:lnTo>
                <a:lnTo>
                  <a:pt x="75379" y="139315"/>
                </a:lnTo>
                <a:lnTo>
                  <a:pt x="75478" y="132658"/>
                </a:lnTo>
                <a:lnTo>
                  <a:pt x="92577" y="84204"/>
                </a:lnTo>
                <a:lnTo>
                  <a:pt x="134048" y="66992"/>
                </a:lnTo>
                <a:lnTo>
                  <a:pt x="183711" y="66992"/>
                </a:lnTo>
                <a:lnTo>
                  <a:pt x="191780" y="58689"/>
                </a:lnTo>
                <a:lnTo>
                  <a:pt x="168675" y="58689"/>
                </a:lnTo>
                <a:lnTo>
                  <a:pt x="168078" y="58364"/>
                </a:lnTo>
                <a:lnTo>
                  <a:pt x="167408" y="58165"/>
                </a:lnTo>
                <a:lnTo>
                  <a:pt x="159817" y="54888"/>
                </a:lnTo>
                <a:lnTo>
                  <a:pt x="158822" y="54521"/>
                </a:lnTo>
                <a:lnTo>
                  <a:pt x="157157" y="53946"/>
                </a:lnTo>
                <a:lnTo>
                  <a:pt x="155440" y="53422"/>
                </a:lnTo>
                <a:lnTo>
                  <a:pt x="153681" y="52930"/>
                </a:lnTo>
                <a:lnTo>
                  <a:pt x="152686" y="52679"/>
                </a:lnTo>
                <a:lnTo>
                  <a:pt x="151744" y="52396"/>
                </a:lnTo>
                <a:lnTo>
                  <a:pt x="148895" y="51778"/>
                </a:lnTo>
                <a:lnTo>
                  <a:pt x="146958" y="51453"/>
                </a:lnTo>
                <a:lnTo>
                  <a:pt x="145011" y="51171"/>
                </a:lnTo>
                <a:lnTo>
                  <a:pt x="143335" y="50836"/>
                </a:lnTo>
                <a:lnTo>
                  <a:pt x="142466" y="50762"/>
                </a:lnTo>
                <a:lnTo>
                  <a:pt x="139692" y="50469"/>
                </a:lnTo>
                <a:lnTo>
                  <a:pt x="136896" y="50270"/>
                </a:lnTo>
                <a:close/>
              </a:path>
              <a:path w="502919" h="335279">
                <a:moveTo>
                  <a:pt x="402544" y="334942"/>
                </a:moveTo>
                <a:lnTo>
                  <a:pt x="315529" y="334942"/>
                </a:lnTo>
                <a:lnTo>
                  <a:pt x="318869" y="335078"/>
                </a:lnTo>
                <a:lnTo>
                  <a:pt x="401872" y="335078"/>
                </a:lnTo>
                <a:lnTo>
                  <a:pt x="402544" y="334942"/>
                </a:lnTo>
                <a:close/>
              </a:path>
              <a:path w="502919" h="335279">
                <a:moveTo>
                  <a:pt x="316021" y="318136"/>
                </a:moveTo>
                <a:lnTo>
                  <a:pt x="314346" y="318262"/>
                </a:lnTo>
                <a:lnTo>
                  <a:pt x="107609" y="318293"/>
                </a:lnTo>
                <a:lnTo>
                  <a:pt x="401872" y="318293"/>
                </a:lnTo>
                <a:lnTo>
                  <a:pt x="318273" y="318262"/>
                </a:lnTo>
                <a:lnTo>
                  <a:pt x="316021" y="318136"/>
                </a:lnTo>
                <a:close/>
              </a:path>
              <a:path w="502919" h="335279">
                <a:moveTo>
                  <a:pt x="457228" y="149470"/>
                </a:moveTo>
                <a:lnTo>
                  <a:pt x="392055" y="149470"/>
                </a:lnTo>
                <a:lnTo>
                  <a:pt x="404399" y="149563"/>
                </a:lnTo>
                <a:lnTo>
                  <a:pt x="413459" y="150218"/>
                </a:lnTo>
                <a:lnTo>
                  <a:pt x="466278" y="180158"/>
                </a:lnTo>
                <a:lnTo>
                  <a:pt x="485838" y="234327"/>
                </a:lnTo>
                <a:lnTo>
                  <a:pt x="479230" y="266981"/>
                </a:lnTo>
                <a:lnTo>
                  <a:pt x="461218" y="293674"/>
                </a:lnTo>
                <a:lnTo>
                  <a:pt x="434526" y="311685"/>
                </a:lnTo>
                <a:lnTo>
                  <a:pt x="401872" y="318293"/>
                </a:lnTo>
                <a:lnTo>
                  <a:pt x="454163" y="318293"/>
                </a:lnTo>
                <a:lnTo>
                  <a:pt x="473068" y="305533"/>
                </a:lnTo>
                <a:lnTo>
                  <a:pt x="494674" y="273504"/>
                </a:lnTo>
                <a:lnTo>
                  <a:pt x="502602" y="234327"/>
                </a:lnTo>
                <a:lnTo>
                  <a:pt x="496914" y="201121"/>
                </a:lnTo>
                <a:lnTo>
                  <a:pt x="481134" y="172037"/>
                </a:lnTo>
                <a:lnTo>
                  <a:pt x="457228" y="149470"/>
                </a:lnTo>
                <a:close/>
              </a:path>
              <a:path w="502919" h="335279">
                <a:moveTo>
                  <a:pt x="394396" y="132658"/>
                </a:moveTo>
                <a:lnTo>
                  <a:pt x="385250" y="133065"/>
                </a:lnTo>
                <a:lnTo>
                  <a:pt x="375695" y="134121"/>
                </a:lnTo>
                <a:lnTo>
                  <a:pt x="371109" y="134812"/>
                </a:lnTo>
                <a:lnTo>
                  <a:pt x="368009" y="139105"/>
                </a:lnTo>
                <a:lnTo>
                  <a:pt x="369318" y="147817"/>
                </a:lnTo>
                <a:lnTo>
                  <a:pt x="372857" y="150801"/>
                </a:lnTo>
                <a:lnTo>
                  <a:pt x="378218" y="150686"/>
                </a:lnTo>
                <a:lnTo>
                  <a:pt x="392055" y="149470"/>
                </a:lnTo>
                <a:lnTo>
                  <a:pt x="457228" y="149470"/>
                </a:lnTo>
                <a:lnTo>
                  <a:pt x="427013" y="135671"/>
                </a:lnTo>
                <a:lnTo>
                  <a:pt x="426461" y="133095"/>
                </a:lnTo>
                <a:lnTo>
                  <a:pt x="409893" y="133095"/>
                </a:lnTo>
                <a:lnTo>
                  <a:pt x="402741" y="132725"/>
                </a:lnTo>
                <a:lnTo>
                  <a:pt x="394396" y="132658"/>
                </a:lnTo>
                <a:close/>
              </a:path>
              <a:path w="502919" h="335279">
                <a:moveTo>
                  <a:pt x="183711" y="66992"/>
                </a:moveTo>
                <a:lnTo>
                  <a:pt x="136624" y="66992"/>
                </a:lnTo>
                <a:lnTo>
                  <a:pt x="139189" y="67244"/>
                </a:lnTo>
                <a:lnTo>
                  <a:pt x="142393" y="67652"/>
                </a:lnTo>
                <a:lnTo>
                  <a:pt x="143032" y="67778"/>
                </a:lnTo>
                <a:lnTo>
                  <a:pt x="143660" y="67851"/>
                </a:lnTo>
                <a:lnTo>
                  <a:pt x="145911" y="68270"/>
                </a:lnTo>
                <a:lnTo>
                  <a:pt x="148121" y="68709"/>
                </a:lnTo>
                <a:lnTo>
                  <a:pt x="150288" y="69380"/>
                </a:lnTo>
                <a:lnTo>
                  <a:pt x="151189" y="69579"/>
                </a:lnTo>
                <a:lnTo>
                  <a:pt x="153545" y="70311"/>
                </a:lnTo>
                <a:lnTo>
                  <a:pt x="155890" y="71254"/>
                </a:lnTo>
                <a:lnTo>
                  <a:pt x="158173" y="72270"/>
                </a:lnTo>
                <a:lnTo>
                  <a:pt x="159324" y="72845"/>
                </a:lnTo>
                <a:lnTo>
                  <a:pt x="161942" y="74112"/>
                </a:lnTo>
                <a:lnTo>
                  <a:pt x="190726" y="110731"/>
                </a:lnTo>
                <a:lnTo>
                  <a:pt x="192653" y="125650"/>
                </a:lnTo>
                <a:lnTo>
                  <a:pt x="192653" y="130268"/>
                </a:lnTo>
                <a:lnTo>
                  <a:pt x="196423" y="134037"/>
                </a:lnTo>
                <a:lnTo>
                  <a:pt x="205669" y="134037"/>
                </a:lnTo>
                <a:lnTo>
                  <a:pt x="209417" y="130268"/>
                </a:lnTo>
                <a:lnTo>
                  <a:pt x="209417" y="125650"/>
                </a:lnTo>
                <a:lnTo>
                  <a:pt x="207534" y="108870"/>
                </a:lnTo>
                <a:lnTo>
                  <a:pt x="202162" y="93409"/>
                </a:lnTo>
                <a:lnTo>
                  <a:pt x="193722" y="79681"/>
                </a:lnTo>
                <a:lnTo>
                  <a:pt x="182633" y="68102"/>
                </a:lnTo>
                <a:lnTo>
                  <a:pt x="183711" y="66992"/>
                </a:lnTo>
                <a:close/>
              </a:path>
              <a:path w="502919" h="335279">
                <a:moveTo>
                  <a:pt x="348146" y="16774"/>
                </a:moveTo>
                <a:lnTo>
                  <a:pt x="285551" y="16774"/>
                </a:lnTo>
                <a:lnTo>
                  <a:pt x="331555" y="25815"/>
                </a:lnTo>
                <a:lnTo>
                  <a:pt x="369938" y="50578"/>
                </a:lnTo>
                <a:lnTo>
                  <a:pt x="397214" y="87519"/>
                </a:lnTo>
                <a:lnTo>
                  <a:pt x="409893" y="133095"/>
                </a:lnTo>
                <a:lnTo>
                  <a:pt x="426461" y="133095"/>
                </a:lnTo>
                <a:lnTo>
                  <a:pt x="417793" y="92599"/>
                </a:lnTo>
                <a:lnTo>
                  <a:pt x="396877" y="55332"/>
                </a:lnTo>
                <a:lnTo>
                  <a:pt x="366424" y="26034"/>
                </a:lnTo>
                <a:lnTo>
                  <a:pt x="348146" y="16774"/>
                </a:lnTo>
                <a:close/>
              </a:path>
              <a:path w="502919" h="335279">
                <a:moveTo>
                  <a:pt x="285551" y="0"/>
                </a:moveTo>
                <a:lnTo>
                  <a:pt x="251945" y="4051"/>
                </a:lnTo>
                <a:lnTo>
                  <a:pt x="220308" y="15695"/>
                </a:lnTo>
                <a:lnTo>
                  <a:pt x="192074" y="34164"/>
                </a:lnTo>
                <a:lnTo>
                  <a:pt x="168675" y="58689"/>
                </a:lnTo>
                <a:lnTo>
                  <a:pt x="191780" y="58689"/>
                </a:lnTo>
                <a:lnTo>
                  <a:pt x="203305" y="46830"/>
                </a:lnTo>
                <a:lnTo>
                  <a:pt x="228335" y="30658"/>
                </a:lnTo>
                <a:lnTo>
                  <a:pt x="256244" y="20376"/>
                </a:lnTo>
                <a:lnTo>
                  <a:pt x="285551" y="16774"/>
                </a:lnTo>
                <a:lnTo>
                  <a:pt x="348146" y="16774"/>
                </a:lnTo>
                <a:lnTo>
                  <a:pt x="328596" y="6869"/>
                </a:lnTo>
                <a:lnTo>
                  <a:pt x="28555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7753022" y="2914924"/>
            <a:ext cx="13092" cy="423571"/>
          </a:xfrm>
          <a:custGeom>
            <a:avLst/>
            <a:gdLst/>
            <a:ahLst/>
            <a:cxnLst/>
            <a:rect l="l" t="t" r="r" b="b"/>
            <a:pathLst>
              <a:path w="21590" h="698500">
                <a:moveTo>
                  <a:pt x="16334" y="0"/>
                </a:moveTo>
                <a:lnTo>
                  <a:pt x="4711" y="0"/>
                </a:lnTo>
                <a:lnTo>
                  <a:pt x="0" y="4701"/>
                </a:lnTo>
                <a:lnTo>
                  <a:pt x="0" y="20522"/>
                </a:lnTo>
                <a:lnTo>
                  <a:pt x="4711" y="25224"/>
                </a:lnTo>
                <a:lnTo>
                  <a:pt x="16334" y="25224"/>
                </a:lnTo>
                <a:lnTo>
                  <a:pt x="21046" y="20522"/>
                </a:lnTo>
                <a:lnTo>
                  <a:pt x="21046" y="4701"/>
                </a:lnTo>
                <a:lnTo>
                  <a:pt x="16334" y="0"/>
                </a:lnTo>
                <a:close/>
              </a:path>
              <a:path w="21590" h="698500">
                <a:moveTo>
                  <a:pt x="16334" y="67285"/>
                </a:moveTo>
                <a:lnTo>
                  <a:pt x="4711" y="67285"/>
                </a:lnTo>
                <a:lnTo>
                  <a:pt x="0" y="71987"/>
                </a:lnTo>
                <a:lnTo>
                  <a:pt x="0" y="87808"/>
                </a:lnTo>
                <a:lnTo>
                  <a:pt x="4711" y="92520"/>
                </a:lnTo>
                <a:lnTo>
                  <a:pt x="16334" y="92520"/>
                </a:lnTo>
                <a:lnTo>
                  <a:pt x="21046" y="87808"/>
                </a:lnTo>
                <a:lnTo>
                  <a:pt x="21046" y="71987"/>
                </a:lnTo>
                <a:lnTo>
                  <a:pt x="16334" y="67285"/>
                </a:lnTo>
                <a:close/>
              </a:path>
              <a:path w="21590" h="698500">
                <a:moveTo>
                  <a:pt x="16334" y="134571"/>
                </a:moveTo>
                <a:lnTo>
                  <a:pt x="4711" y="134571"/>
                </a:lnTo>
                <a:lnTo>
                  <a:pt x="0" y="139283"/>
                </a:lnTo>
                <a:lnTo>
                  <a:pt x="0" y="155094"/>
                </a:lnTo>
                <a:lnTo>
                  <a:pt x="4711" y="159806"/>
                </a:lnTo>
                <a:lnTo>
                  <a:pt x="16334" y="159806"/>
                </a:lnTo>
                <a:lnTo>
                  <a:pt x="21046" y="155094"/>
                </a:lnTo>
                <a:lnTo>
                  <a:pt x="21046" y="139283"/>
                </a:lnTo>
                <a:lnTo>
                  <a:pt x="16334" y="134571"/>
                </a:lnTo>
                <a:close/>
              </a:path>
              <a:path w="21590" h="698500">
                <a:moveTo>
                  <a:pt x="16334" y="201857"/>
                </a:moveTo>
                <a:lnTo>
                  <a:pt x="4711" y="201857"/>
                </a:lnTo>
                <a:lnTo>
                  <a:pt x="0" y="206569"/>
                </a:lnTo>
                <a:lnTo>
                  <a:pt x="0" y="222391"/>
                </a:lnTo>
                <a:lnTo>
                  <a:pt x="4711" y="227092"/>
                </a:lnTo>
                <a:lnTo>
                  <a:pt x="16334" y="227092"/>
                </a:lnTo>
                <a:lnTo>
                  <a:pt x="21046" y="222391"/>
                </a:lnTo>
                <a:lnTo>
                  <a:pt x="21046" y="206569"/>
                </a:lnTo>
                <a:lnTo>
                  <a:pt x="16334" y="201857"/>
                </a:lnTo>
                <a:close/>
              </a:path>
              <a:path w="21590" h="698500">
                <a:moveTo>
                  <a:pt x="16334" y="269154"/>
                </a:moveTo>
                <a:lnTo>
                  <a:pt x="4711" y="269154"/>
                </a:lnTo>
                <a:lnTo>
                  <a:pt x="0" y="273855"/>
                </a:lnTo>
                <a:lnTo>
                  <a:pt x="0" y="289677"/>
                </a:lnTo>
                <a:lnTo>
                  <a:pt x="4711" y="294388"/>
                </a:lnTo>
                <a:lnTo>
                  <a:pt x="16334" y="294388"/>
                </a:lnTo>
                <a:lnTo>
                  <a:pt x="21046" y="289677"/>
                </a:lnTo>
                <a:lnTo>
                  <a:pt x="21046" y="273855"/>
                </a:lnTo>
                <a:lnTo>
                  <a:pt x="16334" y="269154"/>
                </a:lnTo>
                <a:close/>
              </a:path>
              <a:path w="21590" h="698500">
                <a:moveTo>
                  <a:pt x="16334" y="336440"/>
                </a:moveTo>
                <a:lnTo>
                  <a:pt x="4711" y="336440"/>
                </a:lnTo>
                <a:lnTo>
                  <a:pt x="0" y="341151"/>
                </a:lnTo>
                <a:lnTo>
                  <a:pt x="0" y="356973"/>
                </a:lnTo>
                <a:lnTo>
                  <a:pt x="4711" y="361674"/>
                </a:lnTo>
                <a:lnTo>
                  <a:pt x="16334" y="361674"/>
                </a:lnTo>
                <a:lnTo>
                  <a:pt x="21046" y="356973"/>
                </a:lnTo>
                <a:lnTo>
                  <a:pt x="21046" y="341151"/>
                </a:lnTo>
                <a:lnTo>
                  <a:pt x="16334" y="336440"/>
                </a:lnTo>
                <a:close/>
              </a:path>
              <a:path w="21590" h="698500">
                <a:moveTo>
                  <a:pt x="16334" y="403725"/>
                </a:moveTo>
                <a:lnTo>
                  <a:pt x="4711" y="403725"/>
                </a:lnTo>
                <a:lnTo>
                  <a:pt x="0" y="408437"/>
                </a:lnTo>
                <a:lnTo>
                  <a:pt x="0" y="424248"/>
                </a:lnTo>
                <a:lnTo>
                  <a:pt x="4711" y="428960"/>
                </a:lnTo>
                <a:lnTo>
                  <a:pt x="16334" y="428960"/>
                </a:lnTo>
                <a:lnTo>
                  <a:pt x="21046" y="424248"/>
                </a:lnTo>
                <a:lnTo>
                  <a:pt x="21046" y="408437"/>
                </a:lnTo>
                <a:lnTo>
                  <a:pt x="16334" y="403725"/>
                </a:lnTo>
                <a:close/>
              </a:path>
              <a:path w="21590" h="698500">
                <a:moveTo>
                  <a:pt x="16334" y="471011"/>
                </a:moveTo>
                <a:lnTo>
                  <a:pt x="4711" y="471011"/>
                </a:lnTo>
                <a:lnTo>
                  <a:pt x="0" y="475713"/>
                </a:lnTo>
                <a:lnTo>
                  <a:pt x="0" y="491534"/>
                </a:lnTo>
                <a:lnTo>
                  <a:pt x="4711" y="496246"/>
                </a:lnTo>
                <a:lnTo>
                  <a:pt x="16334" y="496246"/>
                </a:lnTo>
                <a:lnTo>
                  <a:pt x="21046" y="491534"/>
                </a:lnTo>
                <a:lnTo>
                  <a:pt x="21046" y="475713"/>
                </a:lnTo>
                <a:lnTo>
                  <a:pt x="16334" y="471011"/>
                </a:lnTo>
                <a:close/>
              </a:path>
              <a:path w="21590" h="698500">
                <a:moveTo>
                  <a:pt x="16334" y="538308"/>
                </a:moveTo>
                <a:lnTo>
                  <a:pt x="4711" y="538308"/>
                </a:lnTo>
                <a:lnTo>
                  <a:pt x="0" y="543009"/>
                </a:lnTo>
                <a:lnTo>
                  <a:pt x="0" y="558831"/>
                </a:lnTo>
                <a:lnTo>
                  <a:pt x="4711" y="563543"/>
                </a:lnTo>
                <a:lnTo>
                  <a:pt x="16334" y="563543"/>
                </a:lnTo>
                <a:lnTo>
                  <a:pt x="21046" y="558831"/>
                </a:lnTo>
                <a:lnTo>
                  <a:pt x="21046" y="543009"/>
                </a:lnTo>
                <a:lnTo>
                  <a:pt x="16334" y="538308"/>
                </a:lnTo>
                <a:close/>
              </a:path>
              <a:path w="21590" h="698500">
                <a:moveTo>
                  <a:pt x="16334" y="605594"/>
                </a:moveTo>
                <a:lnTo>
                  <a:pt x="4711" y="605594"/>
                </a:lnTo>
                <a:lnTo>
                  <a:pt x="0" y="610306"/>
                </a:lnTo>
                <a:lnTo>
                  <a:pt x="0" y="626117"/>
                </a:lnTo>
                <a:lnTo>
                  <a:pt x="4711" y="630828"/>
                </a:lnTo>
                <a:lnTo>
                  <a:pt x="16334" y="630828"/>
                </a:lnTo>
                <a:lnTo>
                  <a:pt x="21046" y="626117"/>
                </a:lnTo>
                <a:lnTo>
                  <a:pt x="21046" y="610306"/>
                </a:lnTo>
                <a:lnTo>
                  <a:pt x="16334" y="605594"/>
                </a:lnTo>
                <a:close/>
              </a:path>
              <a:path w="21590" h="698500">
                <a:moveTo>
                  <a:pt x="16334" y="672890"/>
                </a:moveTo>
                <a:lnTo>
                  <a:pt x="4711" y="672890"/>
                </a:lnTo>
                <a:lnTo>
                  <a:pt x="0" y="677602"/>
                </a:lnTo>
                <a:lnTo>
                  <a:pt x="0" y="693413"/>
                </a:lnTo>
                <a:lnTo>
                  <a:pt x="4711" y="698114"/>
                </a:lnTo>
                <a:lnTo>
                  <a:pt x="16334" y="698114"/>
                </a:lnTo>
                <a:lnTo>
                  <a:pt x="21046" y="693413"/>
                </a:lnTo>
                <a:lnTo>
                  <a:pt x="21046" y="677602"/>
                </a:lnTo>
                <a:lnTo>
                  <a:pt x="16334" y="67289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7918166" y="2914924"/>
            <a:ext cx="13092" cy="260303"/>
          </a:xfrm>
          <a:custGeom>
            <a:avLst/>
            <a:gdLst/>
            <a:ahLst/>
            <a:cxnLst/>
            <a:rect l="l" t="t" r="r" b="b"/>
            <a:pathLst>
              <a:path w="21590" h="429260">
                <a:moveTo>
                  <a:pt x="16324" y="0"/>
                </a:moveTo>
                <a:lnTo>
                  <a:pt x="4701" y="0"/>
                </a:lnTo>
                <a:lnTo>
                  <a:pt x="0" y="4701"/>
                </a:lnTo>
                <a:lnTo>
                  <a:pt x="0" y="20522"/>
                </a:lnTo>
                <a:lnTo>
                  <a:pt x="4701" y="25224"/>
                </a:lnTo>
                <a:lnTo>
                  <a:pt x="16324" y="25224"/>
                </a:lnTo>
                <a:lnTo>
                  <a:pt x="21036" y="20522"/>
                </a:lnTo>
                <a:lnTo>
                  <a:pt x="21036" y="4701"/>
                </a:lnTo>
                <a:lnTo>
                  <a:pt x="16324" y="0"/>
                </a:lnTo>
                <a:close/>
              </a:path>
              <a:path w="21590" h="429260">
                <a:moveTo>
                  <a:pt x="16324" y="67285"/>
                </a:moveTo>
                <a:lnTo>
                  <a:pt x="4701" y="67285"/>
                </a:lnTo>
                <a:lnTo>
                  <a:pt x="0" y="71987"/>
                </a:lnTo>
                <a:lnTo>
                  <a:pt x="0" y="87808"/>
                </a:lnTo>
                <a:lnTo>
                  <a:pt x="4701" y="92520"/>
                </a:lnTo>
                <a:lnTo>
                  <a:pt x="16324" y="92520"/>
                </a:lnTo>
                <a:lnTo>
                  <a:pt x="21036" y="87808"/>
                </a:lnTo>
                <a:lnTo>
                  <a:pt x="21036" y="71987"/>
                </a:lnTo>
                <a:lnTo>
                  <a:pt x="16324" y="67285"/>
                </a:lnTo>
                <a:close/>
              </a:path>
              <a:path w="21590" h="429260">
                <a:moveTo>
                  <a:pt x="16324" y="134571"/>
                </a:moveTo>
                <a:lnTo>
                  <a:pt x="4701" y="134571"/>
                </a:lnTo>
                <a:lnTo>
                  <a:pt x="0" y="139283"/>
                </a:lnTo>
                <a:lnTo>
                  <a:pt x="0" y="155094"/>
                </a:lnTo>
                <a:lnTo>
                  <a:pt x="4701" y="159806"/>
                </a:lnTo>
                <a:lnTo>
                  <a:pt x="16324" y="159806"/>
                </a:lnTo>
                <a:lnTo>
                  <a:pt x="21036" y="155094"/>
                </a:lnTo>
                <a:lnTo>
                  <a:pt x="21036" y="139283"/>
                </a:lnTo>
                <a:lnTo>
                  <a:pt x="16324" y="134571"/>
                </a:lnTo>
                <a:close/>
              </a:path>
              <a:path w="21590" h="429260">
                <a:moveTo>
                  <a:pt x="16324" y="201857"/>
                </a:moveTo>
                <a:lnTo>
                  <a:pt x="4701" y="201857"/>
                </a:lnTo>
                <a:lnTo>
                  <a:pt x="0" y="206569"/>
                </a:lnTo>
                <a:lnTo>
                  <a:pt x="0" y="222391"/>
                </a:lnTo>
                <a:lnTo>
                  <a:pt x="4701" y="227092"/>
                </a:lnTo>
                <a:lnTo>
                  <a:pt x="16324" y="227092"/>
                </a:lnTo>
                <a:lnTo>
                  <a:pt x="21036" y="222391"/>
                </a:lnTo>
                <a:lnTo>
                  <a:pt x="21036" y="206569"/>
                </a:lnTo>
                <a:lnTo>
                  <a:pt x="16324" y="201857"/>
                </a:lnTo>
                <a:close/>
              </a:path>
              <a:path w="21590" h="429260">
                <a:moveTo>
                  <a:pt x="16324" y="269154"/>
                </a:moveTo>
                <a:lnTo>
                  <a:pt x="4701" y="269154"/>
                </a:lnTo>
                <a:lnTo>
                  <a:pt x="0" y="273855"/>
                </a:lnTo>
                <a:lnTo>
                  <a:pt x="0" y="289677"/>
                </a:lnTo>
                <a:lnTo>
                  <a:pt x="4701" y="294388"/>
                </a:lnTo>
                <a:lnTo>
                  <a:pt x="16324" y="294388"/>
                </a:lnTo>
                <a:lnTo>
                  <a:pt x="21036" y="289677"/>
                </a:lnTo>
                <a:lnTo>
                  <a:pt x="21036" y="273855"/>
                </a:lnTo>
                <a:lnTo>
                  <a:pt x="16324" y="269154"/>
                </a:lnTo>
                <a:close/>
              </a:path>
              <a:path w="21590" h="429260">
                <a:moveTo>
                  <a:pt x="16324" y="336440"/>
                </a:moveTo>
                <a:lnTo>
                  <a:pt x="4701" y="336440"/>
                </a:lnTo>
                <a:lnTo>
                  <a:pt x="0" y="341151"/>
                </a:lnTo>
                <a:lnTo>
                  <a:pt x="0" y="356973"/>
                </a:lnTo>
                <a:lnTo>
                  <a:pt x="4701" y="361674"/>
                </a:lnTo>
                <a:lnTo>
                  <a:pt x="16324" y="361674"/>
                </a:lnTo>
                <a:lnTo>
                  <a:pt x="21036" y="356973"/>
                </a:lnTo>
                <a:lnTo>
                  <a:pt x="21036" y="341151"/>
                </a:lnTo>
                <a:lnTo>
                  <a:pt x="16324" y="336440"/>
                </a:lnTo>
                <a:close/>
              </a:path>
              <a:path w="21590" h="429260">
                <a:moveTo>
                  <a:pt x="16324" y="403725"/>
                </a:moveTo>
                <a:lnTo>
                  <a:pt x="4701" y="403725"/>
                </a:lnTo>
                <a:lnTo>
                  <a:pt x="0" y="408437"/>
                </a:lnTo>
                <a:lnTo>
                  <a:pt x="0" y="424248"/>
                </a:lnTo>
                <a:lnTo>
                  <a:pt x="4701" y="428960"/>
                </a:lnTo>
                <a:lnTo>
                  <a:pt x="16324" y="428960"/>
                </a:lnTo>
                <a:lnTo>
                  <a:pt x="21036" y="424248"/>
                </a:lnTo>
                <a:lnTo>
                  <a:pt x="21036" y="408437"/>
                </a:lnTo>
                <a:lnTo>
                  <a:pt x="16324" y="403725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7581782" y="2914924"/>
            <a:ext cx="13092" cy="260303"/>
          </a:xfrm>
          <a:custGeom>
            <a:avLst/>
            <a:gdLst/>
            <a:ahLst/>
            <a:cxnLst/>
            <a:rect l="l" t="t" r="r" b="b"/>
            <a:pathLst>
              <a:path w="21590" h="429260">
                <a:moveTo>
                  <a:pt x="16334" y="0"/>
                </a:moveTo>
                <a:lnTo>
                  <a:pt x="4711" y="0"/>
                </a:lnTo>
                <a:lnTo>
                  <a:pt x="0" y="4701"/>
                </a:lnTo>
                <a:lnTo>
                  <a:pt x="0" y="20522"/>
                </a:lnTo>
                <a:lnTo>
                  <a:pt x="4711" y="25224"/>
                </a:lnTo>
                <a:lnTo>
                  <a:pt x="16334" y="25224"/>
                </a:lnTo>
                <a:lnTo>
                  <a:pt x="21046" y="20522"/>
                </a:lnTo>
                <a:lnTo>
                  <a:pt x="21046" y="4701"/>
                </a:lnTo>
                <a:lnTo>
                  <a:pt x="16334" y="0"/>
                </a:lnTo>
                <a:close/>
              </a:path>
              <a:path w="21590" h="429260">
                <a:moveTo>
                  <a:pt x="16334" y="67285"/>
                </a:moveTo>
                <a:lnTo>
                  <a:pt x="4711" y="67285"/>
                </a:lnTo>
                <a:lnTo>
                  <a:pt x="0" y="71987"/>
                </a:lnTo>
                <a:lnTo>
                  <a:pt x="0" y="87808"/>
                </a:lnTo>
                <a:lnTo>
                  <a:pt x="4711" y="92520"/>
                </a:lnTo>
                <a:lnTo>
                  <a:pt x="16334" y="92520"/>
                </a:lnTo>
                <a:lnTo>
                  <a:pt x="21046" y="87808"/>
                </a:lnTo>
                <a:lnTo>
                  <a:pt x="21046" y="71987"/>
                </a:lnTo>
                <a:lnTo>
                  <a:pt x="16334" y="67285"/>
                </a:lnTo>
                <a:close/>
              </a:path>
              <a:path w="21590" h="429260">
                <a:moveTo>
                  <a:pt x="16334" y="134571"/>
                </a:moveTo>
                <a:lnTo>
                  <a:pt x="4711" y="134571"/>
                </a:lnTo>
                <a:lnTo>
                  <a:pt x="0" y="139283"/>
                </a:lnTo>
                <a:lnTo>
                  <a:pt x="0" y="155094"/>
                </a:lnTo>
                <a:lnTo>
                  <a:pt x="4711" y="159806"/>
                </a:lnTo>
                <a:lnTo>
                  <a:pt x="16334" y="159806"/>
                </a:lnTo>
                <a:lnTo>
                  <a:pt x="21046" y="155094"/>
                </a:lnTo>
                <a:lnTo>
                  <a:pt x="21046" y="139283"/>
                </a:lnTo>
                <a:lnTo>
                  <a:pt x="16334" y="134571"/>
                </a:lnTo>
                <a:close/>
              </a:path>
              <a:path w="21590" h="429260">
                <a:moveTo>
                  <a:pt x="16334" y="201857"/>
                </a:moveTo>
                <a:lnTo>
                  <a:pt x="4711" y="201857"/>
                </a:lnTo>
                <a:lnTo>
                  <a:pt x="0" y="206569"/>
                </a:lnTo>
                <a:lnTo>
                  <a:pt x="0" y="222391"/>
                </a:lnTo>
                <a:lnTo>
                  <a:pt x="4711" y="227092"/>
                </a:lnTo>
                <a:lnTo>
                  <a:pt x="16334" y="227092"/>
                </a:lnTo>
                <a:lnTo>
                  <a:pt x="21046" y="222391"/>
                </a:lnTo>
                <a:lnTo>
                  <a:pt x="21046" y="206569"/>
                </a:lnTo>
                <a:lnTo>
                  <a:pt x="16334" y="201857"/>
                </a:lnTo>
                <a:close/>
              </a:path>
              <a:path w="21590" h="429260">
                <a:moveTo>
                  <a:pt x="16334" y="269154"/>
                </a:moveTo>
                <a:lnTo>
                  <a:pt x="4711" y="269154"/>
                </a:lnTo>
                <a:lnTo>
                  <a:pt x="0" y="273855"/>
                </a:lnTo>
                <a:lnTo>
                  <a:pt x="0" y="289677"/>
                </a:lnTo>
                <a:lnTo>
                  <a:pt x="4711" y="294388"/>
                </a:lnTo>
                <a:lnTo>
                  <a:pt x="16334" y="294388"/>
                </a:lnTo>
                <a:lnTo>
                  <a:pt x="21046" y="289677"/>
                </a:lnTo>
                <a:lnTo>
                  <a:pt x="21046" y="273855"/>
                </a:lnTo>
                <a:lnTo>
                  <a:pt x="16334" y="269154"/>
                </a:lnTo>
                <a:close/>
              </a:path>
              <a:path w="21590" h="429260">
                <a:moveTo>
                  <a:pt x="16334" y="336440"/>
                </a:moveTo>
                <a:lnTo>
                  <a:pt x="4711" y="336440"/>
                </a:lnTo>
                <a:lnTo>
                  <a:pt x="0" y="341151"/>
                </a:lnTo>
                <a:lnTo>
                  <a:pt x="0" y="356973"/>
                </a:lnTo>
                <a:lnTo>
                  <a:pt x="4711" y="361674"/>
                </a:lnTo>
                <a:lnTo>
                  <a:pt x="16334" y="361674"/>
                </a:lnTo>
                <a:lnTo>
                  <a:pt x="21046" y="356973"/>
                </a:lnTo>
                <a:lnTo>
                  <a:pt x="21046" y="341151"/>
                </a:lnTo>
                <a:lnTo>
                  <a:pt x="16334" y="336440"/>
                </a:lnTo>
                <a:close/>
              </a:path>
              <a:path w="21590" h="429260">
                <a:moveTo>
                  <a:pt x="16334" y="403725"/>
                </a:moveTo>
                <a:lnTo>
                  <a:pt x="4711" y="403725"/>
                </a:lnTo>
                <a:lnTo>
                  <a:pt x="0" y="408437"/>
                </a:lnTo>
                <a:lnTo>
                  <a:pt x="0" y="424248"/>
                </a:lnTo>
                <a:lnTo>
                  <a:pt x="4711" y="428960"/>
                </a:lnTo>
                <a:lnTo>
                  <a:pt x="16334" y="428960"/>
                </a:lnTo>
                <a:lnTo>
                  <a:pt x="21046" y="424248"/>
                </a:lnTo>
                <a:lnTo>
                  <a:pt x="21046" y="408437"/>
                </a:lnTo>
                <a:lnTo>
                  <a:pt x="16334" y="403725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7954634" y="3162046"/>
            <a:ext cx="423571" cy="13092"/>
          </a:xfrm>
          <a:custGeom>
            <a:avLst/>
            <a:gdLst/>
            <a:ahLst/>
            <a:cxnLst/>
            <a:rect l="l" t="t" r="r" b="b"/>
            <a:pathLst>
              <a:path w="698500" h="21589">
                <a:moveTo>
                  <a:pt x="20533" y="0"/>
                </a:moveTo>
                <a:lnTo>
                  <a:pt x="4711" y="0"/>
                </a:lnTo>
                <a:lnTo>
                  <a:pt x="0" y="4711"/>
                </a:lnTo>
                <a:lnTo>
                  <a:pt x="0" y="16334"/>
                </a:lnTo>
                <a:lnTo>
                  <a:pt x="4711" y="21046"/>
                </a:lnTo>
                <a:lnTo>
                  <a:pt x="20533" y="21046"/>
                </a:lnTo>
                <a:lnTo>
                  <a:pt x="25234" y="16334"/>
                </a:lnTo>
                <a:lnTo>
                  <a:pt x="25234" y="4711"/>
                </a:lnTo>
                <a:lnTo>
                  <a:pt x="20533" y="0"/>
                </a:lnTo>
                <a:close/>
              </a:path>
              <a:path w="698500" h="21589">
                <a:moveTo>
                  <a:pt x="87819" y="0"/>
                </a:moveTo>
                <a:lnTo>
                  <a:pt x="71997" y="0"/>
                </a:lnTo>
                <a:lnTo>
                  <a:pt x="67296" y="4711"/>
                </a:lnTo>
                <a:lnTo>
                  <a:pt x="67296" y="16334"/>
                </a:lnTo>
                <a:lnTo>
                  <a:pt x="71997" y="21046"/>
                </a:lnTo>
                <a:lnTo>
                  <a:pt x="87819" y="21046"/>
                </a:lnTo>
                <a:lnTo>
                  <a:pt x="92520" y="16334"/>
                </a:lnTo>
                <a:lnTo>
                  <a:pt x="92520" y="4711"/>
                </a:lnTo>
                <a:lnTo>
                  <a:pt x="87819" y="0"/>
                </a:lnTo>
                <a:close/>
              </a:path>
              <a:path w="698500" h="21589">
                <a:moveTo>
                  <a:pt x="155094" y="0"/>
                </a:moveTo>
                <a:lnTo>
                  <a:pt x="139283" y="0"/>
                </a:lnTo>
                <a:lnTo>
                  <a:pt x="134571" y="4711"/>
                </a:lnTo>
                <a:lnTo>
                  <a:pt x="134571" y="16334"/>
                </a:lnTo>
                <a:lnTo>
                  <a:pt x="139283" y="21046"/>
                </a:lnTo>
                <a:lnTo>
                  <a:pt x="155094" y="21046"/>
                </a:lnTo>
                <a:lnTo>
                  <a:pt x="159817" y="16334"/>
                </a:lnTo>
                <a:lnTo>
                  <a:pt x="159817" y="4711"/>
                </a:lnTo>
                <a:lnTo>
                  <a:pt x="155094" y="0"/>
                </a:lnTo>
                <a:close/>
              </a:path>
              <a:path w="698500" h="21589">
                <a:moveTo>
                  <a:pt x="222391" y="0"/>
                </a:moveTo>
                <a:lnTo>
                  <a:pt x="206569" y="0"/>
                </a:lnTo>
                <a:lnTo>
                  <a:pt x="201868" y="4711"/>
                </a:lnTo>
                <a:lnTo>
                  <a:pt x="201868" y="16334"/>
                </a:lnTo>
                <a:lnTo>
                  <a:pt x="206569" y="21046"/>
                </a:lnTo>
                <a:lnTo>
                  <a:pt x="222391" y="21046"/>
                </a:lnTo>
                <a:lnTo>
                  <a:pt x="227103" y="16334"/>
                </a:lnTo>
                <a:lnTo>
                  <a:pt x="227103" y="4711"/>
                </a:lnTo>
                <a:lnTo>
                  <a:pt x="222391" y="0"/>
                </a:lnTo>
                <a:close/>
              </a:path>
              <a:path w="698500" h="21589">
                <a:moveTo>
                  <a:pt x="289687" y="0"/>
                </a:moveTo>
                <a:lnTo>
                  <a:pt x="273866" y="0"/>
                </a:lnTo>
                <a:lnTo>
                  <a:pt x="269154" y="4711"/>
                </a:lnTo>
                <a:lnTo>
                  <a:pt x="269154" y="16334"/>
                </a:lnTo>
                <a:lnTo>
                  <a:pt x="273866" y="21046"/>
                </a:lnTo>
                <a:lnTo>
                  <a:pt x="289687" y="21046"/>
                </a:lnTo>
                <a:lnTo>
                  <a:pt x="294388" y="16334"/>
                </a:lnTo>
                <a:lnTo>
                  <a:pt x="294388" y="4711"/>
                </a:lnTo>
                <a:lnTo>
                  <a:pt x="289687" y="0"/>
                </a:lnTo>
                <a:close/>
              </a:path>
              <a:path w="698500" h="21589">
                <a:moveTo>
                  <a:pt x="356973" y="0"/>
                </a:moveTo>
                <a:lnTo>
                  <a:pt x="341151" y="0"/>
                </a:lnTo>
                <a:lnTo>
                  <a:pt x="336450" y="4711"/>
                </a:lnTo>
                <a:lnTo>
                  <a:pt x="336450" y="16334"/>
                </a:lnTo>
                <a:lnTo>
                  <a:pt x="341151" y="21046"/>
                </a:lnTo>
                <a:lnTo>
                  <a:pt x="356973" y="21046"/>
                </a:lnTo>
                <a:lnTo>
                  <a:pt x="361685" y="16334"/>
                </a:lnTo>
                <a:lnTo>
                  <a:pt x="361685" y="4711"/>
                </a:lnTo>
                <a:lnTo>
                  <a:pt x="356973" y="0"/>
                </a:lnTo>
                <a:close/>
              </a:path>
              <a:path w="698500" h="21589">
                <a:moveTo>
                  <a:pt x="424259" y="0"/>
                </a:moveTo>
                <a:lnTo>
                  <a:pt x="408437" y="0"/>
                </a:lnTo>
                <a:lnTo>
                  <a:pt x="403725" y="4711"/>
                </a:lnTo>
                <a:lnTo>
                  <a:pt x="403725" y="16334"/>
                </a:lnTo>
                <a:lnTo>
                  <a:pt x="408437" y="21046"/>
                </a:lnTo>
                <a:lnTo>
                  <a:pt x="424259" y="21046"/>
                </a:lnTo>
                <a:lnTo>
                  <a:pt x="428971" y="16334"/>
                </a:lnTo>
                <a:lnTo>
                  <a:pt x="428971" y="4711"/>
                </a:lnTo>
                <a:lnTo>
                  <a:pt x="424259" y="0"/>
                </a:lnTo>
                <a:close/>
              </a:path>
              <a:path w="698500" h="21589">
                <a:moveTo>
                  <a:pt x="491545" y="0"/>
                </a:moveTo>
                <a:lnTo>
                  <a:pt x="475723" y="0"/>
                </a:lnTo>
                <a:lnTo>
                  <a:pt x="471022" y="4711"/>
                </a:lnTo>
                <a:lnTo>
                  <a:pt x="471022" y="16334"/>
                </a:lnTo>
                <a:lnTo>
                  <a:pt x="475723" y="21046"/>
                </a:lnTo>
                <a:lnTo>
                  <a:pt x="491545" y="21046"/>
                </a:lnTo>
                <a:lnTo>
                  <a:pt x="496246" y="16334"/>
                </a:lnTo>
                <a:lnTo>
                  <a:pt x="496246" y="4711"/>
                </a:lnTo>
                <a:lnTo>
                  <a:pt x="491545" y="0"/>
                </a:lnTo>
                <a:close/>
              </a:path>
              <a:path w="698500" h="21589">
                <a:moveTo>
                  <a:pt x="558841" y="0"/>
                </a:moveTo>
                <a:lnTo>
                  <a:pt x="543020" y="0"/>
                </a:lnTo>
                <a:lnTo>
                  <a:pt x="538318" y="4711"/>
                </a:lnTo>
                <a:lnTo>
                  <a:pt x="538318" y="16334"/>
                </a:lnTo>
                <a:lnTo>
                  <a:pt x="543020" y="21046"/>
                </a:lnTo>
                <a:lnTo>
                  <a:pt x="558841" y="21046"/>
                </a:lnTo>
                <a:lnTo>
                  <a:pt x="563543" y="16334"/>
                </a:lnTo>
                <a:lnTo>
                  <a:pt x="563543" y="4711"/>
                </a:lnTo>
                <a:lnTo>
                  <a:pt x="558841" y="0"/>
                </a:lnTo>
                <a:close/>
              </a:path>
              <a:path w="698500" h="21589">
                <a:moveTo>
                  <a:pt x="626127" y="0"/>
                </a:moveTo>
                <a:lnTo>
                  <a:pt x="610316" y="0"/>
                </a:lnTo>
                <a:lnTo>
                  <a:pt x="605604" y="4711"/>
                </a:lnTo>
                <a:lnTo>
                  <a:pt x="605604" y="16334"/>
                </a:lnTo>
                <a:lnTo>
                  <a:pt x="610316" y="21046"/>
                </a:lnTo>
                <a:lnTo>
                  <a:pt x="626127" y="21046"/>
                </a:lnTo>
                <a:lnTo>
                  <a:pt x="630839" y="16334"/>
                </a:lnTo>
                <a:lnTo>
                  <a:pt x="630839" y="4711"/>
                </a:lnTo>
                <a:lnTo>
                  <a:pt x="626127" y="0"/>
                </a:lnTo>
                <a:close/>
              </a:path>
              <a:path w="698500" h="21589">
                <a:moveTo>
                  <a:pt x="693413" y="0"/>
                </a:moveTo>
                <a:lnTo>
                  <a:pt x="677602" y="0"/>
                </a:lnTo>
                <a:lnTo>
                  <a:pt x="672890" y="4711"/>
                </a:lnTo>
                <a:lnTo>
                  <a:pt x="672890" y="16334"/>
                </a:lnTo>
                <a:lnTo>
                  <a:pt x="677602" y="21046"/>
                </a:lnTo>
                <a:lnTo>
                  <a:pt x="693413" y="21046"/>
                </a:lnTo>
                <a:lnTo>
                  <a:pt x="698125" y="16334"/>
                </a:lnTo>
                <a:lnTo>
                  <a:pt x="698125" y="4711"/>
                </a:lnTo>
                <a:lnTo>
                  <a:pt x="693413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7126489" y="3162046"/>
            <a:ext cx="423571" cy="13092"/>
          </a:xfrm>
          <a:custGeom>
            <a:avLst/>
            <a:gdLst/>
            <a:ahLst/>
            <a:cxnLst/>
            <a:rect l="l" t="t" r="r" b="b"/>
            <a:pathLst>
              <a:path w="698500" h="21589">
                <a:moveTo>
                  <a:pt x="20522" y="0"/>
                </a:moveTo>
                <a:lnTo>
                  <a:pt x="4701" y="0"/>
                </a:lnTo>
                <a:lnTo>
                  <a:pt x="0" y="4711"/>
                </a:lnTo>
                <a:lnTo>
                  <a:pt x="0" y="16334"/>
                </a:lnTo>
                <a:lnTo>
                  <a:pt x="4701" y="21046"/>
                </a:lnTo>
                <a:lnTo>
                  <a:pt x="20522" y="21046"/>
                </a:lnTo>
                <a:lnTo>
                  <a:pt x="25234" y="16334"/>
                </a:lnTo>
                <a:lnTo>
                  <a:pt x="25234" y="4711"/>
                </a:lnTo>
                <a:lnTo>
                  <a:pt x="20522" y="0"/>
                </a:lnTo>
                <a:close/>
              </a:path>
              <a:path w="698500" h="21589">
                <a:moveTo>
                  <a:pt x="87819" y="0"/>
                </a:moveTo>
                <a:lnTo>
                  <a:pt x="71997" y="0"/>
                </a:lnTo>
                <a:lnTo>
                  <a:pt x="67285" y="4711"/>
                </a:lnTo>
                <a:lnTo>
                  <a:pt x="67285" y="16334"/>
                </a:lnTo>
                <a:lnTo>
                  <a:pt x="71997" y="21046"/>
                </a:lnTo>
                <a:lnTo>
                  <a:pt x="87819" y="21046"/>
                </a:lnTo>
                <a:lnTo>
                  <a:pt x="92520" y="16334"/>
                </a:lnTo>
                <a:lnTo>
                  <a:pt x="92520" y="4711"/>
                </a:lnTo>
                <a:lnTo>
                  <a:pt x="87819" y="0"/>
                </a:lnTo>
                <a:close/>
              </a:path>
              <a:path w="698500" h="21589">
                <a:moveTo>
                  <a:pt x="155094" y="0"/>
                </a:moveTo>
                <a:lnTo>
                  <a:pt x="139283" y="0"/>
                </a:lnTo>
                <a:lnTo>
                  <a:pt x="134571" y="4711"/>
                </a:lnTo>
                <a:lnTo>
                  <a:pt x="134571" y="16334"/>
                </a:lnTo>
                <a:lnTo>
                  <a:pt x="139283" y="21046"/>
                </a:lnTo>
                <a:lnTo>
                  <a:pt x="155094" y="21046"/>
                </a:lnTo>
                <a:lnTo>
                  <a:pt x="159806" y="16334"/>
                </a:lnTo>
                <a:lnTo>
                  <a:pt x="159806" y="4711"/>
                </a:lnTo>
                <a:lnTo>
                  <a:pt x="155094" y="0"/>
                </a:lnTo>
                <a:close/>
              </a:path>
              <a:path w="698500" h="21589">
                <a:moveTo>
                  <a:pt x="222391" y="0"/>
                </a:moveTo>
                <a:lnTo>
                  <a:pt x="206569" y="0"/>
                </a:lnTo>
                <a:lnTo>
                  <a:pt x="201868" y="4711"/>
                </a:lnTo>
                <a:lnTo>
                  <a:pt x="201868" y="16334"/>
                </a:lnTo>
                <a:lnTo>
                  <a:pt x="206569" y="21046"/>
                </a:lnTo>
                <a:lnTo>
                  <a:pt x="222391" y="21046"/>
                </a:lnTo>
                <a:lnTo>
                  <a:pt x="227092" y="16334"/>
                </a:lnTo>
                <a:lnTo>
                  <a:pt x="227092" y="4711"/>
                </a:lnTo>
                <a:lnTo>
                  <a:pt x="222391" y="0"/>
                </a:lnTo>
                <a:close/>
              </a:path>
              <a:path w="698500" h="21589">
                <a:moveTo>
                  <a:pt x="289677" y="0"/>
                </a:moveTo>
                <a:lnTo>
                  <a:pt x="273855" y="0"/>
                </a:lnTo>
                <a:lnTo>
                  <a:pt x="269154" y="4711"/>
                </a:lnTo>
                <a:lnTo>
                  <a:pt x="269154" y="16334"/>
                </a:lnTo>
                <a:lnTo>
                  <a:pt x="273855" y="21046"/>
                </a:lnTo>
                <a:lnTo>
                  <a:pt x="289677" y="21046"/>
                </a:lnTo>
                <a:lnTo>
                  <a:pt x="294388" y="16334"/>
                </a:lnTo>
                <a:lnTo>
                  <a:pt x="294388" y="4711"/>
                </a:lnTo>
                <a:lnTo>
                  <a:pt x="289677" y="0"/>
                </a:lnTo>
                <a:close/>
              </a:path>
              <a:path w="698500" h="21589">
                <a:moveTo>
                  <a:pt x="356973" y="0"/>
                </a:moveTo>
                <a:lnTo>
                  <a:pt x="341151" y="0"/>
                </a:lnTo>
                <a:lnTo>
                  <a:pt x="336440" y="4711"/>
                </a:lnTo>
                <a:lnTo>
                  <a:pt x="336440" y="16334"/>
                </a:lnTo>
                <a:lnTo>
                  <a:pt x="341151" y="21046"/>
                </a:lnTo>
                <a:lnTo>
                  <a:pt x="356973" y="21046"/>
                </a:lnTo>
                <a:lnTo>
                  <a:pt x="361674" y="16334"/>
                </a:lnTo>
                <a:lnTo>
                  <a:pt x="361674" y="4711"/>
                </a:lnTo>
                <a:lnTo>
                  <a:pt x="356973" y="0"/>
                </a:lnTo>
                <a:close/>
              </a:path>
              <a:path w="698500" h="21589">
                <a:moveTo>
                  <a:pt x="424248" y="0"/>
                </a:moveTo>
                <a:lnTo>
                  <a:pt x="408437" y="0"/>
                </a:lnTo>
                <a:lnTo>
                  <a:pt x="403725" y="4711"/>
                </a:lnTo>
                <a:lnTo>
                  <a:pt x="403725" y="16334"/>
                </a:lnTo>
                <a:lnTo>
                  <a:pt x="408437" y="21046"/>
                </a:lnTo>
                <a:lnTo>
                  <a:pt x="424248" y="21046"/>
                </a:lnTo>
                <a:lnTo>
                  <a:pt x="428960" y="16334"/>
                </a:lnTo>
                <a:lnTo>
                  <a:pt x="428960" y="4711"/>
                </a:lnTo>
                <a:lnTo>
                  <a:pt x="424248" y="0"/>
                </a:lnTo>
                <a:close/>
              </a:path>
              <a:path w="698500" h="21589">
                <a:moveTo>
                  <a:pt x="491545" y="0"/>
                </a:moveTo>
                <a:lnTo>
                  <a:pt x="475723" y="0"/>
                </a:lnTo>
                <a:lnTo>
                  <a:pt x="471011" y="4711"/>
                </a:lnTo>
                <a:lnTo>
                  <a:pt x="471011" y="16334"/>
                </a:lnTo>
                <a:lnTo>
                  <a:pt x="475723" y="21046"/>
                </a:lnTo>
                <a:lnTo>
                  <a:pt x="491545" y="21046"/>
                </a:lnTo>
                <a:lnTo>
                  <a:pt x="496246" y="16334"/>
                </a:lnTo>
                <a:lnTo>
                  <a:pt x="496246" y="4711"/>
                </a:lnTo>
                <a:lnTo>
                  <a:pt x="491545" y="0"/>
                </a:lnTo>
                <a:close/>
              </a:path>
              <a:path w="698500" h="21589">
                <a:moveTo>
                  <a:pt x="558831" y="0"/>
                </a:moveTo>
                <a:lnTo>
                  <a:pt x="543009" y="0"/>
                </a:lnTo>
                <a:lnTo>
                  <a:pt x="538308" y="4711"/>
                </a:lnTo>
                <a:lnTo>
                  <a:pt x="538308" y="16334"/>
                </a:lnTo>
                <a:lnTo>
                  <a:pt x="543009" y="21046"/>
                </a:lnTo>
                <a:lnTo>
                  <a:pt x="558831" y="21046"/>
                </a:lnTo>
                <a:lnTo>
                  <a:pt x="563543" y="16334"/>
                </a:lnTo>
                <a:lnTo>
                  <a:pt x="563543" y="4711"/>
                </a:lnTo>
                <a:lnTo>
                  <a:pt x="558831" y="0"/>
                </a:lnTo>
                <a:close/>
              </a:path>
              <a:path w="698500" h="21589">
                <a:moveTo>
                  <a:pt x="626117" y="0"/>
                </a:moveTo>
                <a:lnTo>
                  <a:pt x="610316" y="0"/>
                </a:lnTo>
                <a:lnTo>
                  <a:pt x="605604" y="4711"/>
                </a:lnTo>
                <a:lnTo>
                  <a:pt x="605604" y="16334"/>
                </a:lnTo>
                <a:lnTo>
                  <a:pt x="610316" y="21046"/>
                </a:lnTo>
                <a:lnTo>
                  <a:pt x="626117" y="21046"/>
                </a:lnTo>
                <a:lnTo>
                  <a:pt x="630828" y="16334"/>
                </a:lnTo>
                <a:lnTo>
                  <a:pt x="630828" y="4711"/>
                </a:lnTo>
                <a:lnTo>
                  <a:pt x="626117" y="0"/>
                </a:lnTo>
                <a:close/>
              </a:path>
              <a:path w="698500" h="21589">
                <a:moveTo>
                  <a:pt x="693413" y="0"/>
                </a:moveTo>
                <a:lnTo>
                  <a:pt x="677602" y="0"/>
                </a:lnTo>
                <a:lnTo>
                  <a:pt x="672890" y="4711"/>
                </a:lnTo>
                <a:lnTo>
                  <a:pt x="672890" y="16334"/>
                </a:lnTo>
                <a:lnTo>
                  <a:pt x="677602" y="21046"/>
                </a:lnTo>
                <a:lnTo>
                  <a:pt x="693413" y="21046"/>
                </a:lnTo>
                <a:lnTo>
                  <a:pt x="698125" y="16334"/>
                </a:lnTo>
                <a:lnTo>
                  <a:pt x="698125" y="4711"/>
                </a:lnTo>
                <a:lnTo>
                  <a:pt x="693413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6675670" y="3162046"/>
            <a:ext cx="423571" cy="13092"/>
          </a:xfrm>
          <a:custGeom>
            <a:avLst/>
            <a:gdLst/>
            <a:ahLst/>
            <a:cxnLst/>
            <a:rect l="l" t="t" r="r" b="b"/>
            <a:pathLst>
              <a:path w="698500" h="21589">
                <a:moveTo>
                  <a:pt x="20522" y="0"/>
                </a:moveTo>
                <a:lnTo>
                  <a:pt x="4701" y="0"/>
                </a:lnTo>
                <a:lnTo>
                  <a:pt x="0" y="4711"/>
                </a:lnTo>
                <a:lnTo>
                  <a:pt x="0" y="16334"/>
                </a:lnTo>
                <a:lnTo>
                  <a:pt x="4701" y="21046"/>
                </a:lnTo>
                <a:lnTo>
                  <a:pt x="20522" y="21046"/>
                </a:lnTo>
                <a:lnTo>
                  <a:pt x="25234" y="16334"/>
                </a:lnTo>
                <a:lnTo>
                  <a:pt x="25234" y="4711"/>
                </a:lnTo>
                <a:lnTo>
                  <a:pt x="20522" y="0"/>
                </a:lnTo>
                <a:close/>
              </a:path>
              <a:path w="698500" h="21589">
                <a:moveTo>
                  <a:pt x="87819" y="0"/>
                </a:moveTo>
                <a:lnTo>
                  <a:pt x="71997" y="0"/>
                </a:lnTo>
                <a:lnTo>
                  <a:pt x="67285" y="4711"/>
                </a:lnTo>
                <a:lnTo>
                  <a:pt x="67285" y="16334"/>
                </a:lnTo>
                <a:lnTo>
                  <a:pt x="71997" y="21046"/>
                </a:lnTo>
                <a:lnTo>
                  <a:pt x="87819" y="21046"/>
                </a:lnTo>
                <a:lnTo>
                  <a:pt x="92520" y="16334"/>
                </a:lnTo>
                <a:lnTo>
                  <a:pt x="92520" y="4711"/>
                </a:lnTo>
                <a:lnTo>
                  <a:pt x="87819" y="0"/>
                </a:lnTo>
                <a:close/>
              </a:path>
              <a:path w="698500" h="21589">
                <a:moveTo>
                  <a:pt x="155094" y="0"/>
                </a:moveTo>
                <a:lnTo>
                  <a:pt x="139283" y="0"/>
                </a:lnTo>
                <a:lnTo>
                  <a:pt x="134571" y="4711"/>
                </a:lnTo>
                <a:lnTo>
                  <a:pt x="134571" y="16334"/>
                </a:lnTo>
                <a:lnTo>
                  <a:pt x="139283" y="21046"/>
                </a:lnTo>
                <a:lnTo>
                  <a:pt x="155094" y="21046"/>
                </a:lnTo>
                <a:lnTo>
                  <a:pt x="159806" y="16334"/>
                </a:lnTo>
                <a:lnTo>
                  <a:pt x="159806" y="4711"/>
                </a:lnTo>
                <a:lnTo>
                  <a:pt x="155094" y="0"/>
                </a:lnTo>
                <a:close/>
              </a:path>
              <a:path w="698500" h="21589">
                <a:moveTo>
                  <a:pt x="222391" y="0"/>
                </a:moveTo>
                <a:lnTo>
                  <a:pt x="206569" y="0"/>
                </a:lnTo>
                <a:lnTo>
                  <a:pt x="201868" y="4711"/>
                </a:lnTo>
                <a:lnTo>
                  <a:pt x="201868" y="16334"/>
                </a:lnTo>
                <a:lnTo>
                  <a:pt x="206569" y="21046"/>
                </a:lnTo>
                <a:lnTo>
                  <a:pt x="222391" y="21046"/>
                </a:lnTo>
                <a:lnTo>
                  <a:pt x="227092" y="16334"/>
                </a:lnTo>
                <a:lnTo>
                  <a:pt x="227092" y="4711"/>
                </a:lnTo>
                <a:lnTo>
                  <a:pt x="222391" y="0"/>
                </a:lnTo>
                <a:close/>
              </a:path>
              <a:path w="698500" h="21589">
                <a:moveTo>
                  <a:pt x="289677" y="0"/>
                </a:moveTo>
                <a:lnTo>
                  <a:pt x="273855" y="0"/>
                </a:lnTo>
                <a:lnTo>
                  <a:pt x="269154" y="4711"/>
                </a:lnTo>
                <a:lnTo>
                  <a:pt x="269154" y="16334"/>
                </a:lnTo>
                <a:lnTo>
                  <a:pt x="273855" y="21046"/>
                </a:lnTo>
                <a:lnTo>
                  <a:pt x="289677" y="21046"/>
                </a:lnTo>
                <a:lnTo>
                  <a:pt x="294388" y="16334"/>
                </a:lnTo>
                <a:lnTo>
                  <a:pt x="294388" y="4711"/>
                </a:lnTo>
                <a:lnTo>
                  <a:pt x="289677" y="0"/>
                </a:lnTo>
                <a:close/>
              </a:path>
              <a:path w="698500" h="21589">
                <a:moveTo>
                  <a:pt x="356973" y="0"/>
                </a:moveTo>
                <a:lnTo>
                  <a:pt x="341151" y="0"/>
                </a:lnTo>
                <a:lnTo>
                  <a:pt x="336440" y="4711"/>
                </a:lnTo>
                <a:lnTo>
                  <a:pt x="336440" y="16334"/>
                </a:lnTo>
                <a:lnTo>
                  <a:pt x="341151" y="21046"/>
                </a:lnTo>
                <a:lnTo>
                  <a:pt x="356973" y="21046"/>
                </a:lnTo>
                <a:lnTo>
                  <a:pt x="361674" y="16334"/>
                </a:lnTo>
                <a:lnTo>
                  <a:pt x="361674" y="4711"/>
                </a:lnTo>
                <a:lnTo>
                  <a:pt x="356973" y="0"/>
                </a:lnTo>
                <a:close/>
              </a:path>
              <a:path w="698500" h="21589">
                <a:moveTo>
                  <a:pt x="424248" y="0"/>
                </a:moveTo>
                <a:lnTo>
                  <a:pt x="408437" y="0"/>
                </a:lnTo>
                <a:lnTo>
                  <a:pt x="403725" y="4711"/>
                </a:lnTo>
                <a:lnTo>
                  <a:pt x="403725" y="16334"/>
                </a:lnTo>
                <a:lnTo>
                  <a:pt x="408437" y="21046"/>
                </a:lnTo>
                <a:lnTo>
                  <a:pt x="424248" y="21046"/>
                </a:lnTo>
                <a:lnTo>
                  <a:pt x="428960" y="16334"/>
                </a:lnTo>
                <a:lnTo>
                  <a:pt x="428960" y="4711"/>
                </a:lnTo>
                <a:lnTo>
                  <a:pt x="424248" y="0"/>
                </a:lnTo>
                <a:close/>
              </a:path>
              <a:path w="698500" h="21589">
                <a:moveTo>
                  <a:pt x="491545" y="0"/>
                </a:moveTo>
                <a:lnTo>
                  <a:pt x="475723" y="0"/>
                </a:lnTo>
                <a:lnTo>
                  <a:pt x="471011" y="4711"/>
                </a:lnTo>
                <a:lnTo>
                  <a:pt x="471011" y="16334"/>
                </a:lnTo>
                <a:lnTo>
                  <a:pt x="475723" y="21046"/>
                </a:lnTo>
                <a:lnTo>
                  <a:pt x="491545" y="21046"/>
                </a:lnTo>
                <a:lnTo>
                  <a:pt x="496246" y="16334"/>
                </a:lnTo>
                <a:lnTo>
                  <a:pt x="496246" y="4711"/>
                </a:lnTo>
                <a:lnTo>
                  <a:pt x="491545" y="0"/>
                </a:lnTo>
                <a:close/>
              </a:path>
              <a:path w="698500" h="21589">
                <a:moveTo>
                  <a:pt x="558831" y="0"/>
                </a:moveTo>
                <a:lnTo>
                  <a:pt x="543009" y="0"/>
                </a:lnTo>
                <a:lnTo>
                  <a:pt x="538308" y="4711"/>
                </a:lnTo>
                <a:lnTo>
                  <a:pt x="538308" y="16334"/>
                </a:lnTo>
                <a:lnTo>
                  <a:pt x="543009" y="21046"/>
                </a:lnTo>
                <a:lnTo>
                  <a:pt x="558831" y="21046"/>
                </a:lnTo>
                <a:lnTo>
                  <a:pt x="563543" y="16334"/>
                </a:lnTo>
                <a:lnTo>
                  <a:pt x="563543" y="4711"/>
                </a:lnTo>
                <a:lnTo>
                  <a:pt x="558831" y="0"/>
                </a:lnTo>
                <a:close/>
              </a:path>
              <a:path w="698500" h="21589">
                <a:moveTo>
                  <a:pt x="626117" y="0"/>
                </a:moveTo>
                <a:lnTo>
                  <a:pt x="610316" y="0"/>
                </a:lnTo>
                <a:lnTo>
                  <a:pt x="605604" y="4711"/>
                </a:lnTo>
                <a:lnTo>
                  <a:pt x="605604" y="16334"/>
                </a:lnTo>
                <a:lnTo>
                  <a:pt x="610316" y="21046"/>
                </a:lnTo>
                <a:lnTo>
                  <a:pt x="626117" y="21046"/>
                </a:lnTo>
                <a:lnTo>
                  <a:pt x="630828" y="16334"/>
                </a:lnTo>
                <a:lnTo>
                  <a:pt x="630828" y="4711"/>
                </a:lnTo>
                <a:lnTo>
                  <a:pt x="626117" y="0"/>
                </a:lnTo>
                <a:close/>
              </a:path>
              <a:path w="698500" h="21589">
                <a:moveTo>
                  <a:pt x="693413" y="0"/>
                </a:moveTo>
                <a:lnTo>
                  <a:pt x="677602" y="0"/>
                </a:lnTo>
                <a:lnTo>
                  <a:pt x="672890" y="4711"/>
                </a:lnTo>
                <a:lnTo>
                  <a:pt x="672890" y="16334"/>
                </a:lnTo>
                <a:lnTo>
                  <a:pt x="677602" y="21046"/>
                </a:lnTo>
                <a:lnTo>
                  <a:pt x="693413" y="21046"/>
                </a:lnTo>
                <a:lnTo>
                  <a:pt x="698125" y="16334"/>
                </a:lnTo>
                <a:lnTo>
                  <a:pt x="698125" y="4711"/>
                </a:lnTo>
                <a:lnTo>
                  <a:pt x="693413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6226439" y="3162046"/>
            <a:ext cx="423571" cy="13092"/>
          </a:xfrm>
          <a:custGeom>
            <a:avLst/>
            <a:gdLst/>
            <a:ahLst/>
            <a:cxnLst/>
            <a:rect l="l" t="t" r="r" b="b"/>
            <a:pathLst>
              <a:path w="698500" h="21589">
                <a:moveTo>
                  <a:pt x="20522" y="0"/>
                </a:moveTo>
                <a:lnTo>
                  <a:pt x="4701" y="0"/>
                </a:lnTo>
                <a:lnTo>
                  <a:pt x="0" y="4711"/>
                </a:lnTo>
                <a:lnTo>
                  <a:pt x="0" y="16334"/>
                </a:lnTo>
                <a:lnTo>
                  <a:pt x="4701" y="21046"/>
                </a:lnTo>
                <a:lnTo>
                  <a:pt x="20522" y="21046"/>
                </a:lnTo>
                <a:lnTo>
                  <a:pt x="25234" y="16334"/>
                </a:lnTo>
                <a:lnTo>
                  <a:pt x="25234" y="4711"/>
                </a:lnTo>
                <a:lnTo>
                  <a:pt x="20522" y="0"/>
                </a:lnTo>
                <a:close/>
              </a:path>
              <a:path w="698500" h="21589">
                <a:moveTo>
                  <a:pt x="87819" y="0"/>
                </a:moveTo>
                <a:lnTo>
                  <a:pt x="71997" y="0"/>
                </a:lnTo>
                <a:lnTo>
                  <a:pt x="67285" y="4711"/>
                </a:lnTo>
                <a:lnTo>
                  <a:pt x="67285" y="16334"/>
                </a:lnTo>
                <a:lnTo>
                  <a:pt x="71997" y="21046"/>
                </a:lnTo>
                <a:lnTo>
                  <a:pt x="87819" y="21046"/>
                </a:lnTo>
                <a:lnTo>
                  <a:pt x="92520" y="16334"/>
                </a:lnTo>
                <a:lnTo>
                  <a:pt x="92520" y="4711"/>
                </a:lnTo>
                <a:lnTo>
                  <a:pt x="87819" y="0"/>
                </a:lnTo>
                <a:close/>
              </a:path>
              <a:path w="698500" h="21589">
                <a:moveTo>
                  <a:pt x="155094" y="0"/>
                </a:moveTo>
                <a:lnTo>
                  <a:pt x="139283" y="0"/>
                </a:lnTo>
                <a:lnTo>
                  <a:pt x="134571" y="4711"/>
                </a:lnTo>
                <a:lnTo>
                  <a:pt x="134571" y="16334"/>
                </a:lnTo>
                <a:lnTo>
                  <a:pt x="139283" y="21046"/>
                </a:lnTo>
                <a:lnTo>
                  <a:pt x="155094" y="21046"/>
                </a:lnTo>
                <a:lnTo>
                  <a:pt x="159806" y="16334"/>
                </a:lnTo>
                <a:lnTo>
                  <a:pt x="159806" y="4711"/>
                </a:lnTo>
                <a:lnTo>
                  <a:pt x="155094" y="0"/>
                </a:lnTo>
                <a:close/>
              </a:path>
              <a:path w="698500" h="21589">
                <a:moveTo>
                  <a:pt x="222391" y="0"/>
                </a:moveTo>
                <a:lnTo>
                  <a:pt x="206569" y="0"/>
                </a:lnTo>
                <a:lnTo>
                  <a:pt x="201868" y="4711"/>
                </a:lnTo>
                <a:lnTo>
                  <a:pt x="201868" y="16334"/>
                </a:lnTo>
                <a:lnTo>
                  <a:pt x="206569" y="21046"/>
                </a:lnTo>
                <a:lnTo>
                  <a:pt x="222391" y="21046"/>
                </a:lnTo>
                <a:lnTo>
                  <a:pt x="227092" y="16334"/>
                </a:lnTo>
                <a:lnTo>
                  <a:pt x="227092" y="4711"/>
                </a:lnTo>
                <a:lnTo>
                  <a:pt x="222391" y="0"/>
                </a:lnTo>
                <a:close/>
              </a:path>
              <a:path w="698500" h="21589">
                <a:moveTo>
                  <a:pt x="289677" y="0"/>
                </a:moveTo>
                <a:lnTo>
                  <a:pt x="273855" y="0"/>
                </a:lnTo>
                <a:lnTo>
                  <a:pt x="269154" y="4711"/>
                </a:lnTo>
                <a:lnTo>
                  <a:pt x="269154" y="16334"/>
                </a:lnTo>
                <a:lnTo>
                  <a:pt x="273855" y="21046"/>
                </a:lnTo>
                <a:lnTo>
                  <a:pt x="289677" y="21046"/>
                </a:lnTo>
                <a:lnTo>
                  <a:pt x="294388" y="16334"/>
                </a:lnTo>
                <a:lnTo>
                  <a:pt x="294388" y="4711"/>
                </a:lnTo>
                <a:lnTo>
                  <a:pt x="289677" y="0"/>
                </a:lnTo>
                <a:close/>
              </a:path>
              <a:path w="698500" h="21589">
                <a:moveTo>
                  <a:pt x="356973" y="0"/>
                </a:moveTo>
                <a:lnTo>
                  <a:pt x="341151" y="0"/>
                </a:lnTo>
                <a:lnTo>
                  <a:pt x="336440" y="4711"/>
                </a:lnTo>
                <a:lnTo>
                  <a:pt x="336440" y="16334"/>
                </a:lnTo>
                <a:lnTo>
                  <a:pt x="341151" y="21046"/>
                </a:lnTo>
                <a:lnTo>
                  <a:pt x="356973" y="21046"/>
                </a:lnTo>
                <a:lnTo>
                  <a:pt x="361674" y="16334"/>
                </a:lnTo>
                <a:lnTo>
                  <a:pt x="361674" y="4711"/>
                </a:lnTo>
                <a:lnTo>
                  <a:pt x="356973" y="0"/>
                </a:lnTo>
                <a:close/>
              </a:path>
              <a:path w="698500" h="21589">
                <a:moveTo>
                  <a:pt x="424248" y="0"/>
                </a:moveTo>
                <a:lnTo>
                  <a:pt x="408437" y="0"/>
                </a:lnTo>
                <a:lnTo>
                  <a:pt x="403725" y="4711"/>
                </a:lnTo>
                <a:lnTo>
                  <a:pt x="403725" y="16334"/>
                </a:lnTo>
                <a:lnTo>
                  <a:pt x="408437" y="21046"/>
                </a:lnTo>
                <a:lnTo>
                  <a:pt x="424248" y="21046"/>
                </a:lnTo>
                <a:lnTo>
                  <a:pt x="428960" y="16334"/>
                </a:lnTo>
                <a:lnTo>
                  <a:pt x="428960" y="4711"/>
                </a:lnTo>
                <a:lnTo>
                  <a:pt x="424248" y="0"/>
                </a:lnTo>
                <a:close/>
              </a:path>
              <a:path w="698500" h="21589">
                <a:moveTo>
                  <a:pt x="491545" y="0"/>
                </a:moveTo>
                <a:lnTo>
                  <a:pt x="475723" y="0"/>
                </a:lnTo>
                <a:lnTo>
                  <a:pt x="471011" y="4711"/>
                </a:lnTo>
                <a:lnTo>
                  <a:pt x="471011" y="16334"/>
                </a:lnTo>
                <a:lnTo>
                  <a:pt x="475723" y="21046"/>
                </a:lnTo>
                <a:lnTo>
                  <a:pt x="491545" y="21046"/>
                </a:lnTo>
                <a:lnTo>
                  <a:pt x="496246" y="16334"/>
                </a:lnTo>
                <a:lnTo>
                  <a:pt x="496246" y="4711"/>
                </a:lnTo>
                <a:lnTo>
                  <a:pt x="491545" y="0"/>
                </a:lnTo>
                <a:close/>
              </a:path>
              <a:path w="698500" h="21589">
                <a:moveTo>
                  <a:pt x="558831" y="0"/>
                </a:moveTo>
                <a:lnTo>
                  <a:pt x="543009" y="0"/>
                </a:lnTo>
                <a:lnTo>
                  <a:pt x="538308" y="4711"/>
                </a:lnTo>
                <a:lnTo>
                  <a:pt x="538308" y="16334"/>
                </a:lnTo>
                <a:lnTo>
                  <a:pt x="543009" y="21046"/>
                </a:lnTo>
                <a:lnTo>
                  <a:pt x="558831" y="21046"/>
                </a:lnTo>
                <a:lnTo>
                  <a:pt x="563543" y="16334"/>
                </a:lnTo>
                <a:lnTo>
                  <a:pt x="563543" y="4711"/>
                </a:lnTo>
                <a:lnTo>
                  <a:pt x="558831" y="0"/>
                </a:lnTo>
                <a:close/>
              </a:path>
              <a:path w="698500" h="21589">
                <a:moveTo>
                  <a:pt x="626117" y="0"/>
                </a:moveTo>
                <a:lnTo>
                  <a:pt x="610316" y="0"/>
                </a:lnTo>
                <a:lnTo>
                  <a:pt x="605604" y="4711"/>
                </a:lnTo>
                <a:lnTo>
                  <a:pt x="605604" y="16334"/>
                </a:lnTo>
                <a:lnTo>
                  <a:pt x="610316" y="21046"/>
                </a:lnTo>
                <a:lnTo>
                  <a:pt x="626117" y="21046"/>
                </a:lnTo>
                <a:lnTo>
                  <a:pt x="630828" y="16334"/>
                </a:lnTo>
                <a:lnTo>
                  <a:pt x="630828" y="4711"/>
                </a:lnTo>
                <a:lnTo>
                  <a:pt x="626117" y="0"/>
                </a:lnTo>
                <a:close/>
              </a:path>
              <a:path w="698500" h="21589">
                <a:moveTo>
                  <a:pt x="693413" y="0"/>
                </a:moveTo>
                <a:lnTo>
                  <a:pt x="677602" y="0"/>
                </a:lnTo>
                <a:lnTo>
                  <a:pt x="672890" y="4711"/>
                </a:lnTo>
                <a:lnTo>
                  <a:pt x="672890" y="16334"/>
                </a:lnTo>
                <a:lnTo>
                  <a:pt x="677602" y="21046"/>
                </a:lnTo>
                <a:lnTo>
                  <a:pt x="693413" y="21046"/>
                </a:lnTo>
                <a:lnTo>
                  <a:pt x="698125" y="16334"/>
                </a:lnTo>
                <a:lnTo>
                  <a:pt x="698125" y="4711"/>
                </a:lnTo>
                <a:lnTo>
                  <a:pt x="693413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5780383" y="3162046"/>
            <a:ext cx="423571" cy="13092"/>
          </a:xfrm>
          <a:custGeom>
            <a:avLst/>
            <a:gdLst/>
            <a:ahLst/>
            <a:cxnLst/>
            <a:rect l="l" t="t" r="r" b="b"/>
            <a:pathLst>
              <a:path w="698500" h="21589">
                <a:moveTo>
                  <a:pt x="20522" y="0"/>
                </a:moveTo>
                <a:lnTo>
                  <a:pt x="4701" y="0"/>
                </a:lnTo>
                <a:lnTo>
                  <a:pt x="0" y="4711"/>
                </a:lnTo>
                <a:lnTo>
                  <a:pt x="0" y="16334"/>
                </a:lnTo>
                <a:lnTo>
                  <a:pt x="4701" y="21046"/>
                </a:lnTo>
                <a:lnTo>
                  <a:pt x="20522" y="21046"/>
                </a:lnTo>
                <a:lnTo>
                  <a:pt x="25234" y="16334"/>
                </a:lnTo>
                <a:lnTo>
                  <a:pt x="25234" y="4711"/>
                </a:lnTo>
                <a:lnTo>
                  <a:pt x="20522" y="0"/>
                </a:lnTo>
                <a:close/>
              </a:path>
              <a:path w="698500" h="21589">
                <a:moveTo>
                  <a:pt x="87819" y="0"/>
                </a:moveTo>
                <a:lnTo>
                  <a:pt x="71997" y="0"/>
                </a:lnTo>
                <a:lnTo>
                  <a:pt x="67285" y="4711"/>
                </a:lnTo>
                <a:lnTo>
                  <a:pt x="67285" y="16334"/>
                </a:lnTo>
                <a:lnTo>
                  <a:pt x="71997" y="21046"/>
                </a:lnTo>
                <a:lnTo>
                  <a:pt x="87819" y="21046"/>
                </a:lnTo>
                <a:lnTo>
                  <a:pt x="92520" y="16334"/>
                </a:lnTo>
                <a:lnTo>
                  <a:pt x="92520" y="4711"/>
                </a:lnTo>
                <a:lnTo>
                  <a:pt x="87819" y="0"/>
                </a:lnTo>
                <a:close/>
              </a:path>
              <a:path w="698500" h="21589">
                <a:moveTo>
                  <a:pt x="155094" y="0"/>
                </a:moveTo>
                <a:lnTo>
                  <a:pt x="139283" y="0"/>
                </a:lnTo>
                <a:lnTo>
                  <a:pt x="134571" y="4711"/>
                </a:lnTo>
                <a:lnTo>
                  <a:pt x="134571" y="16334"/>
                </a:lnTo>
                <a:lnTo>
                  <a:pt x="139283" y="21046"/>
                </a:lnTo>
                <a:lnTo>
                  <a:pt x="155094" y="21046"/>
                </a:lnTo>
                <a:lnTo>
                  <a:pt x="159806" y="16334"/>
                </a:lnTo>
                <a:lnTo>
                  <a:pt x="159806" y="4711"/>
                </a:lnTo>
                <a:lnTo>
                  <a:pt x="155094" y="0"/>
                </a:lnTo>
                <a:close/>
              </a:path>
              <a:path w="698500" h="21589">
                <a:moveTo>
                  <a:pt x="222391" y="0"/>
                </a:moveTo>
                <a:lnTo>
                  <a:pt x="206569" y="0"/>
                </a:lnTo>
                <a:lnTo>
                  <a:pt x="201868" y="4711"/>
                </a:lnTo>
                <a:lnTo>
                  <a:pt x="201868" y="16334"/>
                </a:lnTo>
                <a:lnTo>
                  <a:pt x="206569" y="21046"/>
                </a:lnTo>
                <a:lnTo>
                  <a:pt x="222391" y="21046"/>
                </a:lnTo>
                <a:lnTo>
                  <a:pt x="227092" y="16334"/>
                </a:lnTo>
                <a:lnTo>
                  <a:pt x="227092" y="4711"/>
                </a:lnTo>
                <a:lnTo>
                  <a:pt x="222391" y="0"/>
                </a:lnTo>
                <a:close/>
              </a:path>
              <a:path w="698500" h="21589">
                <a:moveTo>
                  <a:pt x="289677" y="0"/>
                </a:moveTo>
                <a:lnTo>
                  <a:pt x="273855" y="0"/>
                </a:lnTo>
                <a:lnTo>
                  <a:pt x="269154" y="4711"/>
                </a:lnTo>
                <a:lnTo>
                  <a:pt x="269154" y="16334"/>
                </a:lnTo>
                <a:lnTo>
                  <a:pt x="273855" y="21046"/>
                </a:lnTo>
                <a:lnTo>
                  <a:pt x="289677" y="21046"/>
                </a:lnTo>
                <a:lnTo>
                  <a:pt x="294388" y="16334"/>
                </a:lnTo>
                <a:lnTo>
                  <a:pt x="294388" y="4711"/>
                </a:lnTo>
                <a:lnTo>
                  <a:pt x="289677" y="0"/>
                </a:lnTo>
                <a:close/>
              </a:path>
              <a:path w="698500" h="21589">
                <a:moveTo>
                  <a:pt x="356973" y="0"/>
                </a:moveTo>
                <a:lnTo>
                  <a:pt x="341151" y="0"/>
                </a:lnTo>
                <a:lnTo>
                  <a:pt x="336440" y="4711"/>
                </a:lnTo>
                <a:lnTo>
                  <a:pt x="336440" y="16334"/>
                </a:lnTo>
                <a:lnTo>
                  <a:pt x="341151" y="21046"/>
                </a:lnTo>
                <a:lnTo>
                  <a:pt x="356973" y="21046"/>
                </a:lnTo>
                <a:lnTo>
                  <a:pt x="361674" y="16334"/>
                </a:lnTo>
                <a:lnTo>
                  <a:pt x="361674" y="4711"/>
                </a:lnTo>
                <a:lnTo>
                  <a:pt x="356973" y="0"/>
                </a:lnTo>
                <a:close/>
              </a:path>
              <a:path w="698500" h="21589">
                <a:moveTo>
                  <a:pt x="424248" y="0"/>
                </a:moveTo>
                <a:lnTo>
                  <a:pt x="408437" y="0"/>
                </a:lnTo>
                <a:lnTo>
                  <a:pt x="403725" y="4711"/>
                </a:lnTo>
                <a:lnTo>
                  <a:pt x="403725" y="16334"/>
                </a:lnTo>
                <a:lnTo>
                  <a:pt x="408437" y="21046"/>
                </a:lnTo>
                <a:lnTo>
                  <a:pt x="424248" y="21046"/>
                </a:lnTo>
                <a:lnTo>
                  <a:pt x="428960" y="16334"/>
                </a:lnTo>
                <a:lnTo>
                  <a:pt x="428960" y="4711"/>
                </a:lnTo>
                <a:lnTo>
                  <a:pt x="424248" y="0"/>
                </a:lnTo>
                <a:close/>
              </a:path>
              <a:path w="698500" h="21589">
                <a:moveTo>
                  <a:pt x="491545" y="0"/>
                </a:moveTo>
                <a:lnTo>
                  <a:pt x="475723" y="0"/>
                </a:lnTo>
                <a:lnTo>
                  <a:pt x="471011" y="4711"/>
                </a:lnTo>
                <a:lnTo>
                  <a:pt x="471011" y="16334"/>
                </a:lnTo>
                <a:lnTo>
                  <a:pt x="475723" y="21046"/>
                </a:lnTo>
                <a:lnTo>
                  <a:pt x="491545" y="21046"/>
                </a:lnTo>
                <a:lnTo>
                  <a:pt x="496246" y="16334"/>
                </a:lnTo>
                <a:lnTo>
                  <a:pt x="496246" y="4711"/>
                </a:lnTo>
                <a:lnTo>
                  <a:pt x="491545" y="0"/>
                </a:lnTo>
                <a:close/>
              </a:path>
              <a:path w="698500" h="21589">
                <a:moveTo>
                  <a:pt x="558831" y="0"/>
                </a:moveTo>
                <a:lnTo>
                  <a:pt x="543009" y="0"/>
                </a:lnTo>
                <a:lnTo>
                  <a:pt x="538308" y="4711"/>
                </a:lnTo>
                <a:lnTo>
                  <a:pt x="538308" y="16334"/>
                </a:lnTo>
                <a:lnTo>
                  <a:pt x="543009" y="21046"/>
                </a:lnTo>
                <a:lnTo>
                  <a:pt x="558831" y="21046"/>
                </a:lnTo>
                <a:lnTo>
                  <a:pt x="563543" y="16334"/>
                </a:lnTo>
                <a:lnTo>
                  <a:pt x="563543" y="4711"/>
                </a:lnTo>
                <a:lnTo>
                  <a:pt x="558831" y="0"/>
                </a:lnTo>
                <a:close/>
              </a:path>
              <a:path w="698500" h="21589">
                <a:moveTo>
                  <a:pt x="626117" y="0"/>
                </a:moveTo>
                <a:lnTo>
                  <a:pt x="610316" y="0"/>
                </a:lnTo>
                <a:lnTo>
                  <a:pt x="605604" y="4711"/>
                </a:lnTo>
                <a:lnTo>
                  <a:pt x="605604" y="16334"/>
                </a:lnTo>
                <a:lnTo>
                  <a:pt x="610316" y="21046"/>
                </a:lnTo>
                <a:lnTo>
                  <a:pt x="626117" y="21046"/>
                </a:lnTo>
                <a:lnTo>
                  <a:pt x="630828" y="16334"/>
                </a:lnTo>
                <a:lnTo>
                  <a:pt x="630828" y="4711"/>
                </a:lnTo>
                <a:lnTo>
                  <a:pt x="626117" y="0"/>
                </a:lnTo>
                <a:close/>
              </a:path>
              <a:path w="698500" h="21589">
                <a:moveTo>
                  <a:pt x="693413" y="0"/>
                </a:moveTo>
                <a:lnTo>
                  <a:pt x="677602" y="0"/>
                </a:lnTo>
                <a:lnTo>
                  <a:pt x="672890" y="4711"/>
                </a:lnTo>
                <a:lnTo>
                  <a:pt x="672890" y="16334"/>
                </a:lnTo>
                <a:lnTo>
                  <a:pt x="677602" y="21046"/>
                </a:lnTo>
                <a:lnTo>
                  <a:pt x="693413" y="21046"/>
                </a:lnTo>
                <a:lnTo>
                  <a:pt x="698125" y="16334"/>
                </a:lnTo>
                <a:lnTo>
                  <a:pt x="698125" y="4711"/>
                </a:lnTo>
                <a:lnTo>
                  <a:pt x="693413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5781652" y="3200973"/>
            <a:ext cx="13092" cy="423571"/>
          </a:xfrm>
          <a:custGeom>
            <a:avLst/>
            <a:gdLst/>
            <a:ahLst/>
            <a:cxnLst/>
            <a:rect l="l" t="t" r="r" b="b"/>
            <a:pathLst>
              <a:path w="21590" h="698500">
                <a:moveTo>
                  <a:pt x="16334" y="672890"/>
                </a:moveTo>
                <a:lnTo>
                  <a:pt x="4711" y="672890"/>
                </a:lnTo>
                <a:lnTo>
                  <a:pt x="0" y="677591"/>
                </a:lnTo>
                <a:lnTo>
                  <a:pt x="0" y="693413"/>
                </a:lnTo>
                <a:lnTo>
                  <a:pt x="4711" y="698114"/>
                </a:lnTo>
                <a:lnTo>
                  <a:pt x="16334" y="698114"/>
                </a:lnTo>
                <a:lnTo>
                  <a:pt x="21046" y="693413"/>
                </a:lnTo>
                <a:lnTo>
                  <a:pt x="21046" y="677591"/>
                </a:lnTo>
                <a:lnTo>
                  <a:pt x="16334" y="672890"/>
                </a:lnTo>
                <a:close/>
              </a:path>
              <a:path w="21590" h="698500">
                <a:moveTo>
                  <a:pt x="16334" y="605594"/>
                </a:moveTo>
                <a:lnTo>
                  <a:pt x="4711" y="605594"/>
                </a:lnTo>
                <a:lnTo>
                  <a:pt x="0" y="610306"/>
                </a:lnTo>
                <a:lnTo>
                  <a:pt x="0" y="626127"/>
                </a:lnTo>
                <a:lnTo>
                  <a:pt x="4711" y="630828"/>
                </a:lnTo>
                <a:lnTo>
                  <a:pt x="16334" y="630828"/>
                </a:lnTo>
                <a:lnTo>
                  <a:pt x="21046" y="626127"/>
                </a:lnTo>
                <a:lnTo>
                  <a:pt x="21046" y="610306"/>
                </a:lnTo>
                <a:lnTo>
                  <a:pt x="16334" y="605594"/>
                </a:lnTo>
                <a:close/>
              </a:path>
              <a:path w="21590" h="698500">
                <a:moveTo>
                  <a:pt x="16334" y="538308"/>
                </a:moveTo>
                <a:lnTo>
                  <a:pt x="4711" y="538308"/>
                </a:lnTo>
                <a:lnTo>
                  <a:pt x="0" y="543020"/>
                </a:lnTo>
                <a:lnTo>
                  <a:pt x="0" y="558831"/>
                </a:lnTo>
                <a:lnTo>
                  <a:pt x="4711" y="563543"/>
                </a:lnTo>
                <a:lnTo>
                  <a:pt x="16334" y="563543"/>
                </a:lnTo>
                <a:lnTo>
                  <a:pt x="21046" y="558831"/>
                </a:lnTo>
                <a:lnTo>
                  <a:pt x="21046" y="543020"/>
                </a:lnTo>
                <a:lnTo>
                  <a:pt x="16334" y="538308"/>
                </a:lnTo>
                <a:close/>
              </a:path>
              <a:path w="21590" h="698500">
                <a:moveTo>
                  <a:pt x="16334" y="471022"/>
                </a:moveTo>
                <a:lnTo>
                  <a:pt x="4711" y="471022"/>
                </a:lnTo>
                <a:lnTo>
                  <a:pt x="0" y="475723"/>
                </a:lnTo>
                <a:lnTo>
                  <a:pt x="0" y="491545"/>
                </a:lnTo>
                <a:lnTo>
                  <a:pt x="4711" y="496246"/>
                </a:lnTo>
                <a:lnTo>
                  <a:pt x="16334" y="496246"/>
                </a:lnTo>
                <a:lnTo>
                  <a:pt x="21046" y="491545"/>
                </a:lnTo>
                <a:lnTo>
                  <a:pt x="21046" y="475723"/>
                </a:lnTo>
                <a:lnTo>
                  <a:pt x="16334" y="471022"/>
                </a:lnTo>
                <a:close/>
              </a:path>
              <a:path w="21590" h="698500">
                <a:moveTo>
                  <a:pt x="16334" y="403725"/>
                </a:moveTo>
                <a:lnTo>
                  <a:pt x="4711" y="403725"/>
                </a:lnTo>
                <a:lnTo>
                  <a:pt x="0" y="408437"/>
                </a:lnTo>
                <a:lnTo>
                  <a:pt x="0" y="424259"/>
                </a:lnTo>
                <a:lnTo>
                  <a:pt x="4711" y="428960"/>
                </a:lnTo>
                <a:lnTo>
                  <a:pt x="16334" y="428960"/>
                </a:lnTo>
                <a:lnTo>
                  <a:pt x="21046" y="424259"/>
                </a:lnTo>
                <a:lnTo>
                  <a:pt x="21046" y="408437"/>
                </a:lnTo>
                <a:lnTo>
                  <a:pt x="16334" y="403725"/>
                </a:lnTo>
                <a:close/>
              </a:path>
              <a:path w="21590" h="698500">
                <a:moveTo>
                  <a:pt x="16334" y="336440"/>
                </a:moveTo>
                <a:lnTo>
                  <a:pt x="4711" y="336440"/>
                </a:lnTo>
                <a:lnTo>
                  <a:pt x="0" y="341141"/>
                </a:lnTo>
                <a:lnTo>
                  <a:pt x="0" y="356962"/>
                </a:lnTo>
                <a:lnTo>
                  <a:pt x="4711" y="361674"/>
                </a:lnTo>
                <a:lnTo>
                  <a:pt x="16334" y="361674"/>
                </a:lnTo>
                <a:lnTo>
                  <a:pt x="21046" y="356962"/>
                </a:lnTo>
                <a:lnTo>
                  <a:pt x="21046" y="341141"/>
                </a:lnTo>
                <a:lnTo>
                  <a:pt x="16334" y="336440"/>
                </a:lnTo>
                <a:close/>
              </a:path>
              <a:path w="21590" h="698500">
                <a:moveTo>
                  <a:pt x="16334" y="269154"/>
                </a:moveTo>
                <a:lnTo>
                  <a:pt x="4711" y="269154"/>
                </a:lnTo>
                <a:lnTo>
                  <a:pt x="0" y="273866"/>
                </a:lnTo>
                <a:lnTo>
                  <a:pt x="0" y="289677"/>
                </a:lnTo>
                <a:lnTo>
                  <a:pt x="4711" y="294388"/>
                </a:lnTo>
                <a:lnTo>
                  <a:pt x="16334" y="294388"/>
                </a:lnTo>
                <a:lnTo>
                  <a:pt x="21046" y="289677"/>
                </a:lnTo>
                <a:lnTo>
                  <a:pt x="21046" y="273866"/>
                </a:lnTo>
                <a:lnTo>
                  <a:pt x="16334" y="269154"/>
                </a:lnTo>
                <a:close/>
              </a:path>
              <a:path w="21590" h="698500">
                <a:moveTo>
                  <a:pt x="16334" y="201868"/>
                </a:moveTo>
                <a:lnTo>
                  <a:pt x="4711" y="201868"/>
                </a:lnTo>
                <a:lnTo>
                  <a:pt x="0" y="206580"/>
                </a:lnTo>
                <a:lnTo>
                  <a:pt x="0" y="222401"/>
                </a:lnTo>
                <a:lnTo>
                  <a:pt x="4711" y="227103"/>
                </a:lnTo>
                <a:lnTo>
                  <a:pt x="16334" y="227103"/>
                </a:lnTo>
                <a:lnTo>
                  <a:pt x="21046" y="222401"/>
                </a:lnTo>
                <a:lnTo>
                  <a:pt x="21046" y="206580"/>
                </a:lnTo>
                <a:lnTo>
                  <a:pt x="16334" y="201868"/>
                </a:lnTo>
                <a:close/>
              </a:path>
              <a:path w="21590" h="698500">
                <a:moveTo>
                  <a:pt x="16334" y="134571"/>
                </a:moveTo>
                <a:lnTo>
                  <a:pt x="4711" y="134571"/>
                </a:lnTo>
                <a:lnTo>
                  <a:pt x="0" y="139283"/>
                </a:lnTo>
                <a:lnTo>
                  <a:pt x="0" y="155105"/>
                </a:lnTo>
                <a:lnTo>
                  <a:pt x="4711" y="159806"/>
                </a:lnTo>
                <a:lnTo>
                  <a:pt x="16334" y="159806"/>
                </a:lnTo>
                <a:lnTo>
                  <a:pt x="21046" y="155105"/>
                </a:lnTo>
                <a:lnTo>
                  <a:pt x="21046" y="139283"/>
                </a:lnTo>
                <a:lnTo>
                  <a:pt x="16334" y="134571"/>
                </a:lnTo>
                <a:close/>
              </a:path>
              <a:path w="21590" h="698500">
                <a:moveTo>
                  <a:pt x="16334" y="67285"/>
                </a:moveTo>
                <a:lnTo>
                  <a:pt x="4711" y="67285"/>
                </a:lnTo>
                <a:lnTo>
                  <a:pt x="0" y="71997"/>
                </a:lnTo>
                <a:lnTo>
                  <a:pt x="0" y="87808"/>
                </a:lnTo>
                <a:lnTo>
                  <a:pt x="4711" y="92510"/>
                </a:lnTo>
                <a:lnTo>
                  <a:pt x="16334" y="92510"/>
                </a:lnTo>
                <a:lnTo>
                  <a:pt x="21046" y="87808"/>
                </a:lnTo>
                <a:lnTo>
                  <a:pt x="21046" y="71997"/>
                </a:lnTo>
                <a:lnTo>
                  <a:pt x="16334" y="67285"/>
                </a:lnTo>
                <a:close/>
              </a:path>
              <a:path w="21590" h="698500">
                <a:moveTo>
                  <a:pt x="16334" y="0"/>
                </a:moveTo>
                <a:lnTo>
                  <a:pt x="4711" y="0"/>
                </a:lnTo>
                <a:lnTo>
                  <a:pt x="0" y="4701"/>
                </a:lnTo>
                <a:lnTo>
                  <a:pt x="0" y="20512"/>
                </a:lnTo>
                <a:lnTo>
                  <a:pt x="4711" y="25224"/>
                </a:lnTo>
                <a:lnTo>
                  <a:pt x="16334" y="25224"/>
                </a:lnTo>
                <a:lnTo>
                  <a:pt x="21046" y="20512"/>
                </a:lnTo>
                <a:lnTo>
                  <a:pt x="21046" y="4701"/>
                </a:lnTo>
                <a:lnTo>
                  <a:pt x="16334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5781652" y="3648617"/>
            <a:ext cx="13092" cy="423571"/>
          </a:xfrm>
          <a:custGeom>
            <a:avLst/>
            <a:gdLst/>
            <a:ahLst/>
            <a:cxnLst/>
            <a:rect l="l" t="t" r="r" b="b"/>
            <a:pathLst>
              <a:path w="21590" h="698500">
                <a:moveTo>
                  <a:pt x="16334" y="672890"/>
                </a:moveTo>
                <a:lnTo>
                  <a:pt x="4711" y="672890"/>
                </a:lnTo>
                <a:lnTo>
                  <a:pt x="0" y="677591"/>
                </a:lnTo>
                <a:lnTo>
                  <a:pt x="0" y="693413"/>
                </a:lnTo>
                <a:lnTo>
                  <a:pt x="4711" y="698114"/>
                </a:lnTo>
                <a:lnTo>
                  <a:pt x="16334" y="698114"/>
                </a:lnTo>
                <a:lnTo>
                  <a:pt x="21046" y="693413"/>
                </a:lnTo>
                <a:lnTo>
                  <a:pt x="21046" y="677591"/>
                </a:lnTo>
                <a:lnTo>
                  <a:pt x="16334" y="672890"/>
                </a:lnTo>
                <a:close/>
              </a:path>
              <a:path w="21590" h="698500">
                <a:moveTo>
                  <a:pt x="16334" y="605594"/>
                </a:moveTo>
                <a:lnTo>
                  <a:pt x="4711" y="605594"/>
                </a:lnTo>
                <a:lnTo>
                  <a:pt x="0" y="610306"/>
                </a:lnTo>
                <a:lnTo>
                  <a:pt x="0" y="626127"/>
                </a:lnTo>
                <a:lnTo>
                  <a:pt x="4711" y="630828"/>
                </a:lnTo>
                <a:lnTo>
                  <a:pt x="16334" y="630828"/>
                </a:lnTo>
                <a:lnTo>
                  <a:pt x="21046" y="626127"/>
                </a:lnTo>
                <a:lnTo>
                  <a:pt x="21046" y="610306"/>
                </a:lnTo>
                <a:lnTo>
                  <a:pt x="16334" y="605594"/>
                </a:lnTo>
                <a:close/>
              </a:path>
              <a:path w="21590" h="698500">
                <a:moveTo>
                  <a:pt x="16334" y="538308"/>
                </a:moveTo>
                <a:lnTo>
                  <a:pt x="4711" y="538308"/>
                </a:lnTo>
                <a:lnTo>
                  <a:pt x="0" y="543020"/>
                </a:lnTo>
                <a:lnTo>
                  <a:pt x="0" y="558831"/>
                </a:lnTo>
                <a:lnTo>
                  <a:pt x="4711" y="563543"/>
                </a:lnTo>
                <a:lnTo>
                  <a:pt x="16334" y="563543"/>
                </a:lnTo>
                <a:lnTo>
                  <a:pt x="21046" y="558831"/>
                </a:lnTo>
                <a:lnTo>
                  <a:pt x="21046" y="543020"/>
                </a:lnTo>
                <a:lnTo>
                  <a:pt x="16334" y="538308"/>
                </a:lnTo>
                <a:close/>
              </a:path>
              <a:path w="21590" h="698500">
                <a:moveTo>
                  <a:pt x="16334" y="471022"/>
                </a:moveTo>
                <a:lnTo>
                  <a:pt x="4711" y="471022"/>
                </a:lnTo>
                <a:lnTo>
                  <a:pt x="0" y="475723"/>
                </a:lnTo>
                <a:lnTo>
                  <a:pt x="0" y="491545"/>
                </a:lnTo>
                <a:lnTo>
                  <a:pt x="4711" y="496246"/>
                </a:lnTo>
                <a:lnTo>
                  <a:pt x="16334" y="496246"/>
                </a:lnTo>
                <a:lnTo>
                  <a:pt x="21046" y="491545"/>
                </a:lnTo>
                <a:lnTo>
                  <a:pt x="21046" y="475723"/>
                </a:lnTo>
                <a:lnTo>
                  <a:pt x="16334" y="471022"/>
                </a:lnTo>
                <a:close/>
              </a:path>
              <a:path w="21590" h="698500">
                <a:moveTo>
                  <a:pt x="16334" y="403725"/>
                </a:moveTo>
                <a:lnTo>
                  <a:pt x="4711" y="403725"/>
                </a:lnTo>
                <a:lnTo>
                  <a:pt x="0" y="408437"/>
                </a:lnTo>
                <a:lnTo>
                  <a:pt x="0" y="424259"/>
                </a:lnTo>
                <a:lnTo>
                  <a:pt x="4711" y="428960"/>
                </a:lnTo>
                <a:lnTo>
                  <a:pt x="16334" y="428960"/>
                </a:lnTo>
                <a:lnTo>
                  <a:pt x="21046" y="424259"/>
                </a:lnTo>
                <a:lnTo>
                  <a:pt x="21046" y="408437"/>
                </a:lnTo>
                <a:lnTo>
                  <a:pt x="16334" y="403725"/>
                </a:lnTo>
                <a:close/>
              </a:path>
              <a:path w="21590" h="698500">
                <a:moveTo>
                  <a:pt x="16334" y="336440"/>
                </a:moveTo>
                <a:lnTo>
                  <a:pt x="4711" y="336440"/>
                </a:lnTo>
                <a:lnTo>
                  <a:pt x="0" y="341141"/>
                </a:lnTo>
                <a:lnTo>
                  <a:pt x="0" y="356962"/>
                </a:lnTo>
                <a:lnTo>
                  <a:pt x="4711" y="361674"/>
                </a:lnTo>
                <a:lnTo>
                  <a:pt x="16334" y="361674"/>
                </a:lnTo>
                <a:lnTo>
                  <a:pt x="21046" y="356962"/>
                </a:lnTo>
                <a:lnTo>
                  <a:pt x="21046" y="341141"/>
                </a:lnTo>
                <a:lnTo>
                  <a:pt x="16334" y="336440"/>
                </a:lnTo>
                <a:close/>
              </a:path>
              <a:path w="21590" h="698500">
                <a:moveTo>
                  <a:pt x="16334" y="269154"/>
                </a:moveTo>
                <a:lnTo>
                  <a:pt x="4711" y="269154"/>
                </a:lnTo>
                <a:lnTo>
                  <a:pt x="0" y="273866"/>
                </a:lnTo>
                <a:lnTo>
                  <a:pt x="0" y="289677"/>
                </a:lnTo>
                <a:lnTo>
                  <a:pt x="4711" y="294388"/>
                </a:lnTo>
                <a:lnTo>
                  <a:pt x="16334" y="294388"/>
                </a:lnTo>
                <a:lnTo>
                  <a:pt x="21046" y="289677"/>
                </a:lnTo>
                <a:lnTo>
                  <a:pt x="21046" y="273866"/>
                </a:lnTo>
                <a:lnTo>
                  <a:pt x="16334" y="269154"/>
                </a:lnTo>
                <a:close/>
              </a:path>
              <a:path w="21590" h="698500">
                <a:moveTo>
                  <a:pt x="16334" y="201868"/>
                </a:moveTo>
                <a:lnTo>
                  <a:pt x="4711" y="201868"/>
                </a:lnTo>
                <a:lnTo>
                  <a:pt x="0" y="206580"/>
                </a:lnTo>
                <a:lnTo>
                  <a:pt x="0" y="222401"/>
                </a:lnTo>
                <a:lnTo>
                  <a:pt x="4711" y="227103"/>
                </a:lnTo>
                <a:lnTo>
                  <a:pt x="16334" y="227103"/>
                </a:lnTo>
                <a:lnTo>
                  <a:pt x="21046" y="222401"/>
                </a:lnTo>
                <a:lnTo>
                  <a:pt x="21046" y="206580"/>
                </a:lnTo>
                <a:lnTo>
                  <a:pt x="16334" y="201868"/>
                </a:lnTo>
                <a:close/>
              </a:path>
              <a:path w="21590" h="698500">
                <a:moveTo>
                  <a:pt x="16334" y="134571"/>
                </a:moveTo>
                <a:lnTo>
                  <a:pt x="4711" y="134571"/>
                </a:lnTo>
                <a:lnTo>
                  <a:pt x="0" y="139283"/>
                </a:lnTo>
                <a:lnTo>
                  <a:pt x="0" y="155105"/>
                </a:lnTo>
                <a:lnTo>
                  <a:pt x="4711" y="159806"/>
                </a:lnTo>
                <a:lnTo>
                  <a:pt x="16334" y="159806"/>
                </a:lnTo>
                <a:lnTo>
                  <a:pt x="21046" y="155105"/>
                </a:lnTo>
                <a:lnTo>
                  <a:pt x="21046" y="139283"/>
                </a:lnTo>
                <a:lnTo>
                  <a:pt x="16334" y="134571"/>
                </a:lnTo>
                <a:close/>
              </a:path>
              <a:path w="21590" h="698500">
                <a:moveTo>
                  <a:pt x="16334" y="67285"/>
                </a:moveTo>
                <a:lnTo>
                  <a:pt x="4711" y="67285"/>
                </a:lnTo>
                <a:lnTo>
                  <a:pt x="0" y="71997"/>
                </a:lnTo>
                <a:lnTo>
                  <a:pt x="0" y="87808"/>
                </a:lnTo>
                <a:lnTo>
                  <a:pt x="4711" y="92510"/>
                </a:lnTo>
                <a:lnTo>
                  <a:pt x="16334" y="92510"/>
                </a:lnTo>
                <a:lnTo>
                  <a:pt x="21046" y="87808"/>
                </a:lnTo>
                <a:lnTo>
                  <a:pt x="21046" y="71997"/>
                </a:lnTo>
                <a:lnTo>
                  <a:pt x="16334" y="67285"/>
                </a:lnTo>
                <a:close/>
              </a:path>
              <a:path w="21590" h="698500">
                <a:moveTo>
                  <a:pt x="16334" y="0"/>
                </a:moveTo>
                <a:lnTo>
                  <a:pt x="4711" y="0"/>
                </a:lnTo>
                <a:lnTo>
                  <a:pt x="0" y="4701"/>
                </a:lnTo>
                <a:lnTo>
                  <a:pt x="0" y="20512"/>
                </a:lnTo>
                <a:lnTo>
                  <a:pt x="4711" y="25224"/>
                </a:lnTo>
                <a:lnTo>
                  <a:pt x="16334" y="25224"/>
                </a:lnTo>
                <a:lnTo>
                  <a:pt x="21046" y="20512"/>
                </a:lnTo>
                <a:lnTo>
                  <a:pt x="21046" y="4701"/>
                </a:lnTo>
                <a:lnTo>
                  <a:pt x="16334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5781652" y="4098374"/>
            <a:ext cx="13092" cy="423571"/>
          </a:xfrm>
          <a:custGeom>
            <a:avLst/>
            <a:gdLst/>
            <a:ahLst/>
            <a:cxnLst/>
            <a:rect l="l" t="t" r="r" b="b"/>
            <a:pathLst>
              <a:path w="21590" h="698500">
                <a:moveTo>
                  <a:pt x="16334" y="672890"/>
                </a:moveTo>
                <a:lnTo>
                  <a:pt x="4711" y="672890"/>
                </a:lnTo>
                <a:lnTo>
                  <a:pt x="0" y="677591"/>
                </a:lnTo>
                <a:lnTo>
                  <a:pt x="0" y="693413"/>
                </a:lnTo>
                <a:lnTo>
                  <a:pt x="4711" y="698125"/>
                </a:lnTo>
                <a:lnTo>
                  <a:pt x="16334" y="698125"/>
                </a:lnTo>
                <a:lnTo>
                  <a:pt x="21046" y="693413"/>
                </a:lnTo>
                <a:lnTo>
                  <a:pt x="21046" y="677591"/>
                </a:lnTo>
                <a:lnTo>
                  <a:pt x="16334" y="672890"/>
                </a:lnTo>
                <a:close/>
              </a:path>
              <a:path w="21590" h="698500">
                <a:moveTo>
                  <a:pt x="16334" y="605604"/>
                </a:moveTo>
                <a:lnTo>
                  <a:pt x="4711" y="605604"/>
                </a:lnTo>
                <a:lnTo>
                  <a:pt x="0" y="610306"/>
                </a:lnTo>
                <a:lnTo>
                  <a:pt x="0" y="626127"/>
                </a:lnTo>
                <a:lnTo>
                  <a:pt x="4711" y="630828"/>
                </a:lnTo>
                <a:lnTo>
                  <a:pt x="16334" y="630828"/>
                </a:lnTo>
                <a:lnTo>
                  <a:pt x="21046" y="626127"/>
                </a:lnTo>
                <a:lnTo>
                  <a:pt x="21046" y="610306"/>
                </a:lnTo>
                <a:lnTo>
                  <a:pt x="16334" y="605604"/>
                </a:lnTo>
                <a:close/>
              </a:path>
              <a:path w="21590" h="698500">
                <a:moveTo>
                  <a:pt x="16334" y="538308"/>
                </a:moveTo>
                <a:lnTo>
                  <a:pt x="4711" y="538308"/>
                </a:lnTo>
                <a:lnTo>
                  <a:pt x="0" y="543020"/>
                </a:lnTo>
                <a:lnTo>
                  <a:pt x="0" y="558841"/>
                </a:lnTo>
                <a:lnTo>
                  <a:pt x="4711" y="563553"/>
                </a:lnTo>
                <a:lnTo>
                  <a:pt x="16334" y="563553"/>
                </a:lnTo>
                <a:lnTo>
                  <a:pt x="21046" y="558841"/>
                </a:lnTo>
                <a:lnTo>
                  <a:pt x="21046" y="543020"/>
                </a:lnTo>
                <a:lnTo>
                  <a:pt x="16334" y="538308"/>
                </a:lnTo>
                <a:close/>
              </a:path>
              <a:path w="21590" h="698500">
                <a:moveTo>
                  <a:pt x="16334" y="471022"/>
                </a:moveTo>
                <a:lnTo>
                  <a:pt x="4711" y="471022"/>
                </a:lnTo>
                <a:lnTo>
                  <a:pt x="0" y="475723"/>
                </a:lnTo>
                <a:lnTo>
                  <a:pt x="0" y="491545"/>
                </a:lnTo>
                <a:lnTo>
                  <a:pt x="4711" y="496257"/>
                </a:lnTo>
                <a:lnTo>
                  <a:pt x="16334" y="496257"/>
                </a:lnTo>
                <a:lnTo>
                  <a:pt x="21046" y="491545"/>
                </a:lnTo>
                <a:lnTo>
                  <a:pt x="21046" y="475723"/>
                </a:lnTo>
                <a:lnTo>
                  <a:pt x="16334" y="471022"/>
                </a:lnTo>
                <a:close/>
              </a:path>
              <a:path w="21590" h="698500">
                <a:moveTo>
                  <a:pt x="16334" y="403736"/>
                </a:moveTo>
                <a:lnTo>
                  <a:pt x="4711" y="403736"/>
                </a:lnTo>
                <a:lnTo>
                  <a:pt x="0" y="408437"/>
                </a:lnTo>
                <a:lnTo>
                  <a:pt x="0" y="424259"/>
                </a:lnTo>
                <a:lnTo>
                  <a:pt x="4711" y="428960"/>
                </a:lnTo>
                <a:lnTo>
                  <a:pt x="16334" y="428960"/>
                </a:lnTo>
                <a:lnTo>
                  <a:pt x="21046" y="424259"/>
                </a:lnTo>
                <a:lnTo>
                  <a:pt x="21046" y="408437"/>
                </a:lnTo>
                <a:lnTo>
                  <a:pt x="16334" y="403736"/>
                </a:lnTo>
                <a:close/>
              </a:path>
              <a:path w="21590" h="698500">
                <a:moveTo>
                  <a:pt x="16334" y="336440"/>
                </a:moveTo>
                <a:lnTo>
                  <a:pt x="4711" y="336440"/>
                </a:lnTo>
                <a:lnTo>
                  <a:pt x="0" y="341151"/>
                </a:lnTo>
                <a:lnTo>
                  <a:pt x="0" y="356973"/>
                </a:lnTo>
                <a:lnTo>
                  <a:pt x="4711" y="361674"/>
                </a:lnTo>
                <a:lnTo>
                  <a:pt x="16334" y="361674"/>
                </a:lnTo>
                <a:lnTo>
                  <a:pt x="21046" y="356973"/>
                </a:lnTo>
                <a:lnTo>
                  <a:pt x="21046" y="341151"/>
                </a:lnTo>
                <a:lnTo>
                  <a:pt x="16334" y="336440"/>
                </a:lnTo>
                <a:close/>
              </a:path>
              <a:path w="21590" h="698500">
                <a:moveTo>
                  <a:pt x="16334" y="269154"/>
                </a:moveTo>
                <a:lnTo>
                  <a:pt x="4711" y="269154"/>
                </a:lnTo>
                <a:lnTo>
                  <a:pt x="0" y="273866"/>
                </a:lnTo>
                <a:lnTo>
                  <a:pt x="0" y="289677"/>
                </a:lnTo>
                <a:lnTo>
                  <a:pt x="4711" y="294399"/>
                </a:lnTo>
                <a:lnTo>
                  <a:pt x="16334" y="294399"/>
                </a:lnTo>
                <a:lnTo>
                  <a:pt x="21046" y="289677"/>
                </a:lnTo>
                <a:lnTo>
                  <a:pt x="21046" y="273866"/>
                </a:lnTo>
                <a:lnTo>
                  <a:pt x="16334" y="269154"/>
                </a:lnTo>
                <a:close/>
              </a:path>
              <a:path w="21590" h="698500">
                <a:moveTo>
                  <a:pt x="16334" y="201878"/>
                </a:moveTo>
                <a:lnTo>
                  <a:pt x="4711" y="201878"/>
                </a:lnTo>
                <a:lnTo>
                  <a:pt x="0" y="206580"/>
                </a:lnTo>
                <a:lnTo>
                  <a:pt x="0" y="222401"/>
                </a:lnTo>
                <a:lnTo>
                  <a:pt x="4711" y="227103"/>
                </a:lnTo>
                <a:lnTo>
                  <a:pt x="16334" y="227103"/>
                </a:lnTo>
                <a:lnTo>
                  <a:pt x="21046" y="222401"/>
                </a:lnTo>
                <a:lnTo>
                  <a:pt x="21046" y="206580"/>
                </a:lnTo>
                <a:lnTo>
                  <a:pt x="16334" y="201878"/>
                </a:lnTo>
                <a:close/>
              </a:path>
              <a:path w="21590" h="698500">
                <a:moveTo>
                  <a:pt x="16334" y="134582"/>
                </a:moveTo>
                <a:lnTo>
                  <a:pt x="4711" y="134582"/>
                </a:lnTo>
                <a:lnTo>
                  <a:pt x="0" y="139283"/>
                </a:lnTo>
                <a:lnTo>
                  <a:pt x="0" y="155105"/>
                </a:lnTo>
                <a:lnTo>
                  <a:pt x="4711" y="159806"/>
                </a:lnTo>
                <a:lnTo>
                  <a:pt x="16334" y="159806"/>
                </a:lnTo>
                <a:lnTo>
                  <a:pt x="21046" y="155105"/>
                </a:lnTo>
                <a:lnTo>
                  <a:pt x="21046" y="139283"/>
                </a:lnTo>
                <a:lnTo>
                  <a:pt x="16334" y="134582"/>
                </a:lnTo>
                <a:close/>
              </a:path>
              <a:path w="21590" h="698500">
                <a:moveTo>
                  <a:pt x="16334" y="67285"/>
                </a:moveTo>
                <a:lnTo>
                  <a:pt x="4711" y="67285"/>
                </a:lnTo>
                <a:lnTo>
                  <a:pt x="0" y="71997"/>
                </a:lnTo>
                <a:lnTo>
                  <a:pt x="0" y="87808"/>
                </a:lnTo>
                <a:lnTo>
                  <a:pt x="4711" y="92520"/>
                </a:lnTo>
                <a:lnTo>
                  <a:pt x="16334" y="92520"/>
                </a:lnTo>
                <a:lnTo>
                  <a:pt x="21046" y="87808"/>
                </a:lnTo>
                <a:lnTo>
                  <a:pt x="21046" y="71997"/>
                </a:lnTo>
                <a:lnTo>
                  <a:pt x="16334" y="67285"/>
                </a:lnTo>
                <a:close/>
              </a:path>
              <a:path w="21590" h="698500">
                <a:moveTo>
                  <a:pt x="16334" y="0"/>
                </a:moveTo>
                <a:lnTo>
                  <a:pt x="4711" y="0"/>
                </a:lnTo>
                <a:lnTo>
                  <a:pt x="0" y="4701"/>
                </a:lnTo>
                <a:lnTo>
                  <a:pt x="0" y="20522"/>
                </a:lnTo>
                <a:lnTo>
                  <a:pt x="4711" y="25234"/>
                </a:lnTo>
                <a:lnTo>
                  <a:pt x="16334" y="25234"/>
                </a:lnTo>
                <a:lnTo>
                  <a:pt x="21046" y="20522"/>
                </a:lnTo>
                <a:lnTo>
                  <a:pt x="21046" y="4701"/>
                </a:lnTo>
                <a:lnTo>
                  <a:pt x="16334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8392754" y="3162046"/>
            <a:ext cx="423571" cy="13092"/>
          </a:xfrm>
          <a:custGeom>
            <a:avLst/>
            <a:gdLst/>
            <a:ahLst/>
            <a:cxnLst/>
            <a:rect l="l" t="t" r="r" b="b"/>
            <a:pathLst>
              <a:path w="698500" h="21589">
                <a:moveTo>
                  <a:pt x="20533" y="0"/>
                </a:moveTo>
                <a:lnTo>
                  <a:pt x="4711" y="0"/>
                </a:lnTo>
                <a:lnTo>
                  <a:pt x="0" y="4711"/>
                </a:lnTo>
                <a:lnTo>
                  <a:pt x="0" y="16334"/>
                </a:lnTo>
                <a:lnTo>
                  <a:pt x="4711" y="21046"/>
                </a:lnTo>
                <a:lnTo>
                  <a:pt x="20533" y="21046"/>
                </a:lnTo>
                <a:lnTo>
                  <a:pt x="25234" y="16334"/>
                </a:lnTo>
                <a:lnTo>
                  <a:pt x="25234" y="4711"/>
                </a:lnTo>
                <a:lnTo>
                  <a:pt x="20533" y="0"/>
                </a:lnTo>
                <a:close/>
              </a:path>
              <a:path w="698500" h="21589">
                <a:moveTo>
                  <a:pt x="87819" y="0"/>
                </a:moveTo>
                <a:lnTo>
                  <a:pt x="71997" y="0"/>
                </a:lnTo>
                <a:lnTo>
                  <a:pt x="67296" y="4711"/>
                </a:lnTo>
                <a:lnTo>
                  <a:pt x="67296" y="16334"/>
                </a:lnTo>
                <a:lnTo>
                  <a:pt x="71997" y="21046"/>
                </a:lnTo>
                <a:lnTo>
                  <a:pt x="87819" y="21046"/>
                </a:lnTo>
                <a:lnTo>
                  <a:pt x="92520" y="16334"/>
                </a:lnTo>
                <a:lnTo>
                  <a:pt x="92520" y="4711"/>
                </a:lnTo>
                <a:lnTo>
                  <a:pt x="87819" y="0"/>
                </a:lnTo>
                <a:close/>
              </a:path>
              <a:path w="698500" h="21589">
                <a:moveTo>
                  <a:pt x="155094" y="0"/>
                </a:moveTo>
                <a:lnTo>
                  <a:pt x="139283" y="0"/>
                </a:lnTo>
                <a:lnTo>
                  <a:pt x="134571" y="4711"/>
                </a:lnTo>
                <a:lnTo>
                  <a:pt x="134571" y="16334"/>
                </a:lnTo>
                <a:lnTo>
                  <a:pt x="139283" y="21046"/>
                </a:lnTo>
                <a:lnTo>
                  <a:pt x="155094" y="21046"/>
                </a:lnTo>
                <a:lnTo>
                  <a:pt x="159817" y="16334"/>
                </a:lnTo>
                <a:lnTo>
                  <a:pt x="159817" y="4711"/>
                </a:lnTo>
                <a:lnTo>
                  <a:pt x="155094" y="0"/>
                </a:lnTo>
                <a:close/>
              </a:path>
              <a:path w="698500" h="21589">
                <a:moveTo>
                  <a:pt x="222391" y="0"/>
                </a:moveTo>
                <a:lnTo>
                  <a:pt x="206569" y="0"/>
                </a:lnTo>
                <a:lnTo>
                  <a:pt x="201868" y="4711"/>
                </a:lnTo>
                <a:lnTo>
                  <a:pt x="201868" y="16334"/>
                </a:lnTo>
                <a:lnTo>
                  <a:pt x="206569" y="21046"/>
                </a:lnTo>
                <a:lnTo>
                  <a:pt x="222391" y="21046"/>
                </a:lnTo>
                <a:lnTo>
                  <a:pt x="227103" y="16334"/>
                </a:lnTo>
                <a:lnTo>
                  <a:pt x="227103" y="4711"/>
                </a:lnTo>
                <a:lnTo>
                  <a:pt x="222391" y="0"/>
                </a:lnTo>
                <a:close/>
              </a:path>
              <a:path w="698500" h="21589">
                <a:moveTo>
                  <a:pt x="289687" y="0"/>
                </a:moveTo>
                <a:lnTo>
                  <a:pt x="273866" y="0"/>
                </a:lnTo>
                <a:lnTo>
                  <a:pt x="269154" y="4711"/>
                </a:lnTo>
                <a:lnTo>
                  <a:pt x="269154" y="16334"/>
                </a:lnTo>
                <a:lnTo>
                  <a:pt x="273866" y="21046"/>
                </a:lnTo>
                <a:lnTo>
                  <a:pt x="289687" y="21046"/>
                </a:lnTo>
                <a:lnTo>
                  <a:pt x="294388" y="16334"/>
                </a:lnTo>
                <a:lnTo>
                  <a:pt x="294388" y="4711"/>
                </a:lnTo>
                <a:lnTo>
                  <a:pt x="289687" y="0"/>
                </a:lnTo>
                <a:close/>
              </a:path>
              <a:path w="698500" h="21589">
                <a:moveTo>
                  <a:pt x="356973" y="0"/>
                </a:moveTo>
                <a:lnTo>
                  <a:pt x="341151" y="0"/>
                </a:lnTo>
                <a:lnTo>
                  <a:pt x="336450" y="4711"/>
                </a:lnTo>
                <a:lnTo>
                  <a:pt x="336450" y="16334"/>
                </a:lnTo>
                <a:lnTo>
                  <a:pt x="341151" y="21046"/>
                </a:lnTo>
                <a:lnTo>
                  <a:pt x="356973" y="21046"/>
                </a:lnTo>
                <a:lnTo>
                  <a:pt x="361685" y="16334"/>
                </a:lnTo>
                <a:lnTo>
                  <a:pt x="361685" y="4711"/>
                </a:lnTo>
                <a:lnTo>
                  <a:pt x="356973" y="0"/>
                </a:lnTo>
                <a:close/>
              </a:path>
              <a:path w="698500" h="21589">
                <a:moveTo>
                  <a:pt x="424259" y="0"/>
                </a:moveTo>
                <a:lnTo>
                  <a:pt x="408437" y="0"/>
                </a:lnTo>
                <a:lnTo>
                  <a:pt x="403725" y="4711"/>
                </a:lnTo>
                <a:lnTo>
                  <a:pt x="403725" y="16334"/>
                </a:lnTo>
                <a:lnTo>
                  <a:pt x="408437" y="21046"/>
                </a:lnTo>
                <a:lnTo>
                  <a:pt x="424259" y="21046"/>
                </a:lnTo>
                <a:lnTo>
                  <a:pt x="428971" y="16334"/>
                </a:lnTo>
                <a:lnTo>
                  <a:pt x="428971" y="4711"/>
                </a:lnTo>
                <a:lnTo>
                  <a:pt x="424259" y="0"/>
                </a:lnTo>
                <a:close/>
              </a:path>
              <a:path w="698500" h="21589">
                <a:moveTo>
                  <a:pt x="491545" y="0"/>
                </a:moveTo>
                <a:lnTo>
                  <a:pt x="475723" y="0"/>
                </a:lnTo>
                <a:lnTo>
                  <a:pt x="471022" y="4711"/>
                </a:lnTo>
                <a:lnTo>
                  <a:pt x="471022" y="16334"/>
                </a:lnTo>
                <a:lnTo>
                  <a:pt x="475723" y="21046"/>
                </a:lnTo>
                <a:lnTo>
                  <a:pt x="491545" y="21046"/>
                </a:lnTo>
                <a:lnTo>
                  <a:pt x="496246" y="16334"/>
                </a:lnTo>
                <a:lnTo>
                  <a:pt x="496246" y="4711"/>
                </a:lnTo>
                <a:lnTo>
                  <a:pt x="491545" y="0"/>
                </a:lnTo>
                <a:close/>
              </a:path>
              <a:path w="698500" h="21589">
                <a:moveTo>
                  <a:pt x="558841" y="0"/>
                </a:moveTo>
                <a:lnTo>
                  <a:pt x="543020" y="0"/>
                </a:lnTo>
                <a:lnTo>
                  <a:pt x="538318" y="4711"/>
                </a:lnTo>
                <a:lnTo>
                  <a:pt x="538318" y="16334"/>
                </a:lnTo>
                <a:lnTo>
                  <a:pt x="543020" y="21046"/>
                </a:lnTo>
                <a:lnTo>
                  <a:pt x="558841" y="21046"/>
                </a:lnTo>
                <a:lnTo>
                  <a:pt x="563543" y="16334"/>
                </a:lnTo>
                <a:lnTo>
                  <a:pt x="563543" y="4711"/>
                </a:lnTo>
                <a:lnTo>
                  <a:pt x="558841" y="0"/>
                </a:lnTo>
                <a:close/>
              </a:path>
              <a:path w="698500" h="21589">
                <a:moveTo>
                  <a:pt x="626127" y="0"/>
                </a:moveTo>
                <a:lnTo>
                  <a:pt x="610316" y="0"/>
                </a:lnTo>
                <a:lnTo>
                  <a:pt x="605604" y="4711"/>
                </a:lnTo>
                <a:lnTo>
                  <a:pt x="605604" y="16334"/>
                </a:lnTo>
                <a:lnTo>
                  <a:pt x="610316" y="21046"/>
                </a:lnTo>
                <a:lnTo>
                  <a:pt x="626127" y="21046"/>
                </a:lnTo>
                <a:lnTo>
                  <a:pt x="630839" y="16334"/>
                </a:lnTo>
                <a:lnTo>
                  <a:pt x="630839" y="4711"/>
                </a:lnTo>
                <a:lnTo>
                  <a:pt x="626127" y="0"/>
                </a:lnTo>
                <a:close/>
              </a:path>
              <a:path w="698500" h="21589">
                <a:moveTo>
                  <a:pt x="693413" y="0"/>
                </a:moveTo>
                <a:lnTo>
                  <a:pt x="677602" y="0"/>
                </a:lnTo>
                <a:lnTo>
                  <a:pt x="672890" y="4711"/>
                </a:lnTo>
                <a:lnTo>
                  <a:pt x="672890" y="16334"/>
                </a:lnTo>
                <a:lnTo>
                  <a:pt x="677602" y="21046"/>
                </a:lnTo>
                <a:lnTo>
                  <a:pt x="693413" y="21046"/>
                </a:lnTo>
                <a:lnTo>
                  <a:pt x="698125" y="16334"/>
                </a:lnTo>
                <a:lnTo>
                  <a:pt x="698125" y="4711"/>
                </a:lnTo>
                <a:lnTo>
                  <a:pt x="693413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8831915" y="3162046"/>
            <a:ext cx="423571" cy="13092"/>
          </a:xfrm>
          <a:custGeom>
            <a:avLst/>
            <a:gdLst/>
            <a:ahLst/>
            <a:cxnLst/>
            <a:rect l="l" t="t" r="r" b="b"/>
            <a:pathLst>
              <a:path w="698500" h="21589">
                <a:moveTo>
                  <a:pt x="20533" y="0"/>
                </a:moveTo>
                <a:lnTo>
                  <a:pt x="4701" y="0"/>
                </a:lnTo>
                <a:lnTo>
                  <a:pt x="0" y="4711"/>
                </a:lnTo>
                <a:lnTo>
                  <a:pt x="0" y="16334"/>
                </a:lnTo>
                <a:lnTo>
                  <a:pt x="4701" y="21046"/>
                </a:lnTo>
                <a:lnTo>
                  <a:pt x="20533" y="21046"/>
                </a:lnTo>
                <a:lnTo>
                  <a:pt x="25234" y="16334"/>
                </a:lnTo>
                <a:lnTo>
                  <a:pt x="25234" y="4711"/>
                </a:lnTo>
                <a:lnTo>
                  <a:pt x="20533" y="0"/>
                </a:lnTo>
                <a:close/>
              </a:path>
              <a:path w="698500" h="21589">
                <a:moveTo>
                  <a:pt x="87819" y="0"/>
                </a:moveTo>
                <a:lnTo>
                  <a:pt x="71997" y="0"/>
                </a:lnTo>
                <a:lnTo>
                  <a:pt x="67296" y="4711"/>
                </a:lnTo>
                <a:lnTo>
                  <a:pt x="67296" y="16334"/>
                </a:lnTo>
                <a:lnTo>
                  <a:pt x="71997" y="21046"/>
                </a:lnTo>
                <a:lnTo>
                  <a:pt x="87819" y="21046"/>
                </a:lnTo>
                <a:lnTo>
                  <a:pt x="92520" y="16334"/>
                </a:lnTo>
                <a:lnTo>
                  <a:pt x="92520" y="4711"/>
                </a:lnTo>
                <a:lnTo>
                  <a:pt x="87819" y="0"/>
                </a:lnTo>
                <a:close/>
              </a:path>
              <a:path w="698500" h="21589">
                <a:moveTo>
                  <a:pt x="155094" y="0"/>
                </a:moveTo>
                <a:lnTo>
                  <a:pt x="139283" y="0"/>
                </a:lnTo>
                <a:lnTo>
                  <a:pt x="134571" y="4711"/>
                </a:lnTo>
                <a:lnTo>
                  <a:pt x="134571" y="16334"/>
                </a:lnTo>
                <a:lnTo>
                  <a:pt x="139283" y="21046"/>
                </a:lnTo>
                <a:lnTo>
                  <a:pt x="155094" y="21046"/>
                </a:lnTo>
                <a:lnTo>
                  <a:pt x="159817" y="16334"/>
                </a:lnTo>
                <a:lnTo>
                  <a:pt x="159817" y="4711"/>
                </a:lnTo>
                <a:lnTo>
                  <a:pt x="155094" y="0"/>
                </a:lnTo>
                <a:close/>
              </a:path>
              <a:path w="698500" h="21589">
                <a:moveTo>
                  <a:pt x="222391" y="0"/>
                </a:moveTo>
                <a:lnTo>
                  <a:pt x="206569" y="0"/>
                </a:lnTo>
                <a:lnTo>
                  <a:pt x="201868" y="4711"/>
                </a:lnTo>
                <a:lnTo>
                  <a:pt x="201868" y="16334"/>
                </a:lnTo>
                <a:lnTo>
                  <a:pt x="206569" y="21046"/>
                </a:lnTo>
                <a:lnTo>
                  <a:pt x="222391" y="21046"/>
                </a:lnTo>
                <a:lnTo>
                  <a:pt x="227103" y="16334"/>
                </a:lnTo>
                <a:lnTo>
                  <a:pt x="227103" y="4711"/>
                </a:lnTo>
                <a:lnTo>
                  <a:pt x="222391" y="0"/>
                </a:lnTo>
                <a:close/>
              </a:path>
              <a:path w="698500" h="21589">
                <a:moveTo>
                  <a:pt x="289687" y="0"/>
                </a:moveTo>
                <a:lnTo>
                  <a:pt x="273866" y="0"/>
                </a:lnTo>
                <a:lnTo>
                  <a:pt x="269154" y="4711"/>
                </a:lnTo>
                <a:lnTo>
                  <a:pt x="269154" y="16334"/>
                </a:lnTo>
                <a:lnTo>
                  <a:pt x="273866" y="21046"/>
                </a:lnTo>
                <a:lnTo>
                  <a:pt x="289687" y="21046"/>
                </a:lnTo>
                <a:lnTo>
                  <a:pt x="294388" y="16334"/>
                </a:lnTo>
                <a:lnTo>
                  <a:pt x="294388" y="4711"/>
                </a:lnTo>
                <a:lnTo>
                  <a:pt x="289687" y="0"/>
                </a:lnTo>
                <a:close/>
              </a:path>
              <a:path w="698500" h="21589">
                <a:moveTo>
                  <a:pt x="356973" y="0"/>
                </a:moveTo>
                <a:lnTo>
                  <a:pt x="341151" y="0"/>
                </a:lnTo>
                <a:lnTo>
                  <a:pt x="336450" y="4711"/>
                </a:lnTo>
                <a:lnTo>
                  <a:pt x="336450" y="16334"/>
                </a:lnTo>
                <a:lnTo>
                  <a:pt x="341151" y="21046"/>
                </a:lnTo>
                <a:lnTo>
                  <a:pt x="356973" y="21046"/>
                </a:lnTo>
                <a:lnTo>
                  <a:pt x="361674" y="16334"/>
                </a:lnTo>
                <a:lnTo>
                  <a:pt x="361674" y="4711"/>
                </a:lnTo>
                <a:lnTo>
                  <a:pt x="356973" y="0"/>
                </a:lnTo>
                <a:close/>
              </a:path>
              <a:path w="698500" h="21589">
                <a:moveTo>
                  <a:pt x="424248" y="0"/>
                </a:moveTo>
                <a:lnTo>
                  <a:pt x="408437" y="0"/>
                </a:lnTo>
                <a:lnTo>
                  <a:pt x="403725" y="4711"/>
                </a:lnTo>
                <a:lnTo>
                  <a:pt x="403725" y="16334"/>
                </a:lnTo>
                <a:lnTo>
                  <a:pt x="408437" y="21046"/>
                </a:lnTo>
                <a:lnTo>
                  <a:pt x="424248" y="21046"/>
                </a:lnTo>
                <a:lnTo>
                  <a:pt x="428971" y="16334"/>
                </a:lnTo>
                <a:lnTo>
                  <a:pt x="428971" y="4711"/>
                </a:lnTo>
                <a:lnTo>
                  <a:pt x="424248" y="0"/>
                </a:lnTo>
                <a:close/>
              </a:path>
              <a:path w="698500" h="21589">
                <a:moveTo>
                  <a:pt x="491545" y="0"/>
                </a:moveTo>
                <a:lnTo>
                  <a:pt x="475723" y="0"/>
                </a:lnTo>
                <a:lnTo>
                  <a:pt x="471011" y="4711"/>
                </a:lnTo>
                <a:lnTo>
                  <a:pt x="471011" y="16334"/>
                </a:lnTo>
                <a:lnTo>
                  <a:pt x="475723" y="21046"/>
                </a:lnTo>
                <a:lnTo>
                  <a:pt x="491545" y="21046"/>
                </a:lnTo>
                <a:lnTo>
                  <a:pt x="496246" y="16334"/>
                </a:lnTo>
                <a:lnTo>
                  <a:pt x="496246" y="4711"/>
                </a:lnTo>
                <a:lnTo>
                  <a:pt x="491545" y="0"/>
                </a:lnTo>
                <a:close/>
              </a:path>
              <a:path w="698500" h="21589">
                <a:moveTo>
                  <a:pt x="558841" y="0"/>
                </a:moveTo>
                <a:lnTo>
                  <a:pt x="543020" y="0"/>
                </a:lnTo>
                <a:lnTo>
                  <a:pt x="538318" y="4711"/>
                </a:lnTo>
                <a:lnTo>
                  <a:pt x="538318" y="16334"/>
                </a:lnTo>
                <a:lnTo>
                  <a:pt x="543020" y="21046"/>
                </a:lnTo>
                <a:lnTo>
                  <a:pt x="558841" y="21046"/>
                </a:lnTo>
                <a:lnTo>
                  <a:pt x="563543" y="16334"/>
                </a:lnTo>
                <a:lnTo>
                  <a:pt x="563543" y="4711"/>
                </a:lnTo>
                <a:lnTo>
                  <a:pt x="558841" y="0"/>
                </a:lnTo>
                <a:close/>
              </a:path>
              <a:path w="698500" h="21589">
                <a:moveTo>
                  <a:pt x="626127" y="0"/>
                </a:moveTo>
                <a:lnTo>
                  <a:pt x="610316" y="0"/>
                </a:lnTo>
                <a:lnTo>
                  <a:pt x="605604" y="4711"/>
                </a:lnTo>
                <a:lnTo>
                  <a:pt x="605604" y="16334"/>
                </a:lnTo>
                <a:lnTo>
                  <a:pt x="610316" y="21046"/>
                </a:lnTo>
                <a:lnTo>
                  <a:pt x="626127" y="21046"/>
                </a:lnTo>
                <a:lnTo>
                  <a:pt x="630828" y="16334"/>
                </a:lnTo>
                <a:lnTo>
                  <a:pt x="630828" y="4711"/>
                </a:lnTo>
                <a:lnTo>
                  <a:pt x="626127" y="0"/>
                </a:lnTo>
                <a:close/>
              </a:path>
              <a:path w="698500" h="21589">
                <a:moveTo>
                  <a:pt x="693413" y="0"/>
                </a:moveTo>
                <a:lnTo>
                  <a:pt x="677602" y="0"/>
                </a:lnTo>
                <a:lnTo>
                  <a:pt x="672890" y="4711"/>
                </a:lnTo>
                <a:lnTo>
                  <a:pt x="672890" y="16334"/>
                </a:lnTo>
                <a:lnTo>
                  <a:pt x="677602" y="21046"/>
                </a:lnTo>
                <a:lnTo>
                  <a:pt x="693413" y="21046"/>
                </a:lnTo>
                <a:lnTo>
                  <a:pt x="698125" y="16334"/>
                </a:lnTo>
                <a:lnTo>
                  <a:pt x="698125" y="4711"/>
                </a:lnTo>
                <a:lnTo>
                  <a:pt x="693413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9272149" y="3162046"/>
            <a:ext cx="423571" cy="13092"/>
          </a:xfrm>
          <a:custGeom>
            <a:avLst/>
            <a:gdLst/>
            <a:ahLst/>
            <a:cxnLst/>
            <a:rect l="l" t="t" r="r" b="b"/>
            <a:pathLst>
              <a:path w="698500" h="21589">
                <a:moveTo>
                  <a:pt x="20533" y="0"/>
                </a:moveTo>
                <a:lnTo>
                  <a:pt x="4711" y="0"/>
                </a:lnTo>
                <a:lnTo>
                  <a:pt x="0" y="4711"/>
                </a:lnTo>
                <a:lnTo>
                  <a:pt x="0" y="16334"/>
                </a:lnTo>
                <a:lnTo>
                  <a:pt x="4711" y="21046"/>
                </a:lnTo>
                <a:lnTo>
                  <a:pt x="20533" y="21046"/>
                </a:lnTo>
                <a:lnTo>
                  <a:pt x="25234" y="16334"/>
                </a:lnTo>
                <a:lnTo>
                  <a:pt x="25234" y="4711"/>
                </a:lnTo>
                <a:lnTo>
                  <a:pt x="20533" y="0"/>
                </a:lnTo>
                <a:close/>
              </a:path>
              <a:path w="698500" h="21589">
                <a:moveTo>
                  <a:pt x="87819" y="0"/>
                </a:moveTo>
                <a:lnTo>
                  <a:pt x="71997" y="0"/>
                </a:lnTo>
                <a:lnTo>
                  <a:pt x="67296" y="4711"/>
                </a:lnTo>
                <a:lnTo>
                  <a:pt x="67296" y="16334"/>
                </a:lnTo>
                <a:lnTo>
                  <a:pt x="71997" y="21046"/>
                </a:lnTo>
                <a:lnTo>
                  <a:pt x="87819" y="21046"/>
                </a:lnTo>
                <a:lnTo>
                  <a:pt x="92531" y="16334"/>
                </a:lnTo>
                <a:lnTo>
                  <a:pt x="92531" y="4711"/>
                </a:lnTo>
                <a:lnTo>
                  <a:pt x="87819" y="0"/>
                </a:lnTo>
                <a:close/>
              </a:path>
              <a:path w="698500" h="21589">
                <a:moveTo>
                  <a:pt x="155105" y="0"/>
                </a:moveTo>
                <a:lnTo>
                  <a:pt x="139294" y="0"/>
                </a:lnTo>
                <a:lnTo>
                  <a:pt x="134571" y="4711"/>
                </a:lnTo>
                <a:lnTo>
                  <a:pt x="134571" y="16334"/>
                </a:lnTo>
                <a:lnTo>
                  <a:pt x="139294" y="21046"/>
                </a:lnTo>
                <a:lnTo>
                  <a:pt x="155105" y="21046"/>
                </a:lnTo>
                <a:lnTo>
                  <a:pt x="159817" y="16334"/>
                </a:lnTo>
                <a:lnTo>
                  <a:pt x="159817" y="4711"/>
                </a:lnTo>
                <a:lnTo>
                  <a:pt x="155105" y="0"/>
                </a:lnTo>
                <a:close/>
              </a:path>
              <a:path w="698500" h="21589">
                <a:moveTo>
                  <a:pt x="222401" y="0"/>
                </a:moveTo>
                <a:lnTo>
                  <a:pt x="206580" y="0"/>
                </a:lnTo>
                <a:lnTo>
                  <a:pt x="201868" y="4711"/>
                </a:lnTo>
                <a:lnTo>
                  <a:pt x="201868" y="16334"/>
                </a:lnTo>
                <a:lnTo>
                  <a:pt x="206580" y="21046"/>
                </a:lnTo>
                <a:lnTo>
                  <a:pt x="222401" y="21046"/>
                </a:lnTo>
                <a:lnTo>
                  <a:pt x="227103" y="16334"/>
                </a:lnTo>
                <a:lnTo>
                  <a:pt x="227103" y="4711"/>
                </a:lnTo>
                <a:lnTo>
                  <a:pt x="222401" y="0"/>
                </a:lnTo>
                <a:close/>
              </a:path>
              <a:path w="698500" h="21589">
                <a:moveTo>
                  <a:pt x="289687" y="0"/>
                </a:moveTo>
                <a:lnTo>
                  <a:pt x="273866" y="0"/>
                </a:lnTo>
                <a:lnTo>
                  <a:pt x="269164" y="4711"/>
                </a:lnTo>
                <a:lnTo>
                  <a:pt x="269164" y="16334"/>
                </a:lnTo>
                <a:lnTo>
                  <a:pt x="273866" y="21046"/>
                </a:lnTo>
                <a:lnTo>
                  <a:pt x="289687" y="21046"/>
                </a:lnTo>
                <a:lnTo>
                  <a:pt x="294388" y="16334"/>
                </a:lnTo>
                <a:lnTo>
                  <a:pt x="294388" y="4711"/>
                </a:lnTo>
                <a:lnTo>
                  <a:pt x="289687" y="0"/>
                </a:lnTo>
                <a:close/>
              </a:path>
              <a:path w="698500" h="21589">
                <a:moveTo>
                  <a:pt x="356973" y="0"/>
                </a:moveTo>
                <a:lnTo>
                  <a:pt x="341151" y="0"/>
                </a:lnTo>
                <a:lnTo>
                  <a:pt x="336450" y="4711"/>
                </a:lnTo>
                <a:lnTo>
                  <a:pt x="336450" y="16334"/>
                </a:lnTo>
                <a:lnTo>
                  <a:pt x="341151" y="21046"/>
                </a:lnTo>
                <a:lnTo>
                  <a:pt x="356973" y="21046"/>
                </a:lnTo>
                <a:lnTo>
                  <a:pt x="361685" y="16334"/>
                </a:lnTo>
                <a:lnTo>
                  <a:pt x="361685" y="4711"/>
                </a:lnTo>
                <a:lnTo>
                  <a:pt x="356973" y="0"/>
                </a:lnTo>
                <a:close/>
              </a:path>
              <a:path w="698500" h="21589">
                <a:moveTo>
                  <a:pt x="424259" y="0"/>
                </a:moveTo>
                <a:lnTo>
                  <a:pt x="408448" y="0"/>
                </a:lnTo>
                <a:lnTo>
                  <a:pt x="403725" y="4711"/>
                </a:lnTo>
                <a:lnTo>
                  <a:pt x="403725" y="16334"/>
                </a:lnTo>
                <a:lnTo>
                  <a:pt x="408448" y="21046"/>
                </a:lnTo>
                <a:lnTo>
                  <a:pt x="424259" y="21046"/>
                </a:lnTo>
                <a:lnTo>
                  <a:pt x="428971" y="16334"/>
                </a:lnTo>
                <a:lnTo>
                  <a:pt x="428971" y="4711"/>
                </a:lnTo>
                <a:lnTo>
                  <a:pt x="424259" y="0"/>
                </a:lnTo>
                <a:close/>
              </a:path>
              <a:path w="698500" h="21589">
                <a:moveTo>
                  <a:pt x="491545" y="0"/>
                </a:moveTo>
                <a:lnTo>
                  <a:pt x="475723" y="0"/>
                </a:lnTo>
                <a:lnTo>
                  <a:pt x="471022" y="4711"/>
                </a:lnTo>
                <a:lnTo>
                  <a:pt x="471022" y="16334"/>
                </a:lnTo>
                <a:lnTo>
                  <a:pt x="475723" y="21046"/>
                </a:lnTo>
                <a:lnTo>
                  <a:pt x="491545" y="21046"/>
                </a:lnTo>
                <a:lnTo>
                  <a:pt x="496246" y="16334"/>
                </a:lnTo>
                <a:lnTo>
                  <a:pt x="496246" y="4711"/>
                </a:lnTo>
                <a:lnTo>
                  <a:pt x="491545" y="0"/>
                </a:lnTo>
                <a:close/>
              </a:path>
              <a:path w="698500" h="21589">
                <a:moveTo>
                  <a:pt x="558841" y="0"/>
                </a:moveTo>
                <a:lnTo>
                  <a:pt x="543020" y="0"/>
                </a:lnTo>
                <a:lnTo>
                  <a:pt x="538318" y="4711"/>
                </a:lnTo>
                <a:lnTo>
                  <a:pt x="538318" y="16334"/>
                </a:lnTo>
                <a:lnTo>
                  <a:pt x="543020" y="21046"/>
                </a:lnTo>
                <a:lnTo>
                  <a:pt x="558841" y="21046"/>
                </a:lnTo>
                <a:lnTo>
                  <a:pt x="563553" y="16334"/>
                </a:lnTo>
                <a:lnTo>
                  <a:pt x="563553" y="4711"/>
                </a:lnTo>
                <a:lnTo>
                  <a:pt x="558841" y="0"/>
                </a:lnTo>
                <a:close/>
              </a:path>
              <a:path w="698500" h="21589">
                <a:moveTo>
                  <a:pt x="626127" y="0"/>
                </a:moveTo>
                <a:lnTo>
                  <a:pt x="610316" y="0"/>
                </a:lnTo>
                <a:lnTo>
                  <a:pt x="605604" y="4711"/>
                </a:lnTo>
                <a:lnTo>
                  <a:pt x="605604" y="16334"/>
                </a:lnTo>
                <a:lnTo>
                  <a:pt x="610316" y="21046"/>
                </a:lnTo>
                <a:lnTo>
                  <a:pt x="626127" y="21046"/>
                </a:lnTo>
                <a:lnTo>
                  <a:pt x="630839" y="16334"/>
                </a:lnTo>
                <a:lnTo>
                  <a:pt x="630839" y="4711"/>
                </a:lnTo>
                <a:lnTo>
                  <a:pt x="626127" y="0"/>
                </a:lnTo>
                <a:close/>
              </a:path>
              <a:path w="698500" h="21589">
                <a:moveTo>
                  <a:pt x="693423" y="0"/>
                </a:moveTo>
                <a:lnTo>
                  <a:pt x="677612" y="0"/>
                </a:lnTo>
                <a:lnTo>
                  <a:pt x="672900" y="4711"/>
                </a:lnTo>
                <a:lnTo>
                  <a:pt x="672900" y="16334"/>
                </a:lnTo>
                <a:lnTo>
                  <a:pt x="677612" y="21046"/>
                </a:lnTo>
                <a:lnTo>
                  <a:pt x="693423" y="21046"/>
                </a:lnTo>
                <a:lnTo>
                  <a:pt x="698125" y="16334"/>
                </a:lnTo>
                <a:lnTo>
                  <a:pt x="698125" y="4711"/>
                </a:lnTo>
                <a:lnTo>
                  <a:pt x="693423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1" name="object 71"/>
          <p:cNvSpPr/>
          <p:nvPr/>
        </p:nvSpPr>
        <p:spPr>
          <a:xfrm>
            <a:off x="9722279" y="3162046"/>
            <a:ext cx="260303" cy="13092"/>
          </a:xfrm>
          <a:custGeom>
            <a:avLst/>
            <a:gdLst/>
            <a:ahLst/>
            <a:cxnLst/>
            <a:rect l="l" t="t" r="r" b="b"/>
            <a:pathLst>
              <a:path w="429259" h="21589">
                <a:moveTo>
                  <a:pt x="20522" y="0"/>
                </a:moveTo>
                <a:lnTo>
                  <a:pt x="4701" y="0"/>
                </a:lnTo>
                <a:lnTo>
                  <a:pt x="0" y="4711"/>
                </a:lnTo>
                <a:lnTo>
                  <a:pt x="0" y="16334"/>
                </a:lnTo>
                <a:lnTo>
                  <a:pt x="4701" y="21046"/>
                </a:lnTo>
                <a:lnTo>
                  <a:pt x="20522" y="21046"/>
                </a:lnTo>
                <a:lnTo>
                  <a:pt x="25224" y="16334"/>
                </a:lnTo>
                <a:lnTo>
                  <a:pt x="25224" y="4711"/>
                </a:lnTo>
                <a:lnTo>
                  <a:pt x="20522" y="0"/>
                </a:lnTo>
                <a:close/>
              </a:path>
              <a:path w="429259" h="21589">
                <a:moveTo>
                  <a:pt x="87808" y="0"/>
                </a:moveTo>
                <a:lnTo>
                  <a:pt x="71987" y="0"/>
                </a:lnTo>
                <a:lnTo>
                  <a:pt x="67285" y="4711"/>
                </a:lnTo>
                <a:lnTo>
                  <a:pt x="67285" y="16334"/>
                </a:lnTo>
                <a:lnTo>
                  <a:pt x="71987" y="21046"/>
                </a:lnTo>
                <a:lnTo>
                  <a:pt x="87808" y="21046"/>
                </a:lnTo>
                <a:lnTo>
                  <a:pt x="92520" y="16334"/>
                </a:lnTo>
                <a:lnTo>
                  <a:pt x="92520" y="4711"/>
                </a:lnTo>
                <a:lnTo>
                  <a:pt x="87808" y="0"/>
                </a:lnTo>
                <a:close/>
              </a:path>
              <a:path w="429259" h="21589">
                <a:moveTo>
                  <a:pt x="155094" y="0"/>
                </a:moveTo>
                <a:lnTo>
                  <a:pt x="139283" y="0"/>
                </a:lnTo>
                <a:lnTo>
                  <a:pt x="134571" y="4711"/>
                </a:lnTo>
                <a:lnTo>
                  <a:pt x="134571" y="16334"/>
                </a:lnTo>
                <a:lnTo>
                  <a:pt x="139283" y="21046"/>
                </a:lnTo>
                <a:lnTo>
                  <a:pt x="155094" y="21046"/>
                </a:lnTo>
                <a:lnTo>
                  <a:pt x="159806" y="16334"/>
                </a:lnTo>
                <a:lnTo>
                  <a:pt x="159806" y="4711"/>
                </a:lnTo>
                <a:lnTo>
                  <a:pt x="155094" y="0"/>
                </a:lnTo>
                <a:close/>
              </a:path>
              <a:path w="429259" h="21589">
                <a:moveTo>
                  <a:pt x="222391" y="0"/>
                </a:moveTo>
                <a:lnTo>
                  <a:pt x="206569" y="0"/>
                </a:lnTo>
                <a:lnTo>
                  <a:pt x="201868" y="4711"/>
                </a:lnTo>
                <a:lnTo>
                  <a:pt x="201868" y="16334"/>
                </a:lnTo>
                <a:lnTo>
                  <a:pt x="206569" y="21046"/>
                </a:lnTo>
                <a:lnTo>
                  <a:pt x="222391" y="21046"/>
                </a:lnTo>
                <a:lnTo>
                  <a:pt x="227092" y="16334"/>
                </a:lnTo>
                <a:lnTo>
                  <a:pt x="227092" y="4711"/>
                </a:lnTo>
                <a:lnTo>
                  <a:pt x="222391" y="0"/>
                </a:lnTo>
                <a:close/>
              </a:path>
              <a:path w="429259" h="21589">
                <a:moveTo>
                  <a:pt x="289677" y="0"/>
                </a:moveTo>
                <a:lnTo>
                  <a:pt x="273855" y="0"/>
                </a:lnTo>
                <a:lnTo>
                  <a:pt x="269154" y="4711"/>
                </a:lnTo>
                <a:lnTo>
                  <a:pt x="269154" y="16334"/>
                </a:lnTo>
                <a:lnTo>
                  <a:pt x="273855" y="21046"/>
                </a:lnTo>
                <a:lnTo>
                  <a:pt x="289677" y="21046"/>
                </a:lnTo>
                <a:lnTo>
                  <a:pt x="294388" y="16334"/>
                </a:lnTo>
                <a:lnTo>
                  <a:pt x="294388" y="4711"/>
                </a:lnTo>
                <a:lnTo>
                  <a:pt x="289677" y="0"/>
                </a:lnTo>
                <a:close/>
              </a:path>
              <a:path w="429259" h="21589">
                <a:moveTo>
                  <a:pt x="356973" y="0"/>
                </a:moveTo>
                <a:lnTo>
                  <a:pt x="341151" y="0"/>
                </a:lnTo>
                <a:lnTo>
                  <a:pt x="336440" y="4711"/>
                </a:lnTo>
                <a:lnTo>
                  <a:pt x="336440" y="16334"/>
                </a:lnTo>
                <a:lnTo>
                  <a:pt x="341151" y="21046"/>
                </a:lnTo>
                <a:lnTo>
                  <a:pt x="356973" y="21046"/>
                </a:lnTo>
                <a:lnTo>
                  <a:pt x="361674" y="16334"/>
                </a:lnTo>
                <a:lnTo>
                  <a:pt x="361674" y="4711"/>
                </a:lnTo>
                <a:lnTo>
                  <a:pt x="356973" y="0"/>
                </a:lnTo>
                <a:close/>
              </a:path>
              <a:path w="429259" h="21589">
                <a:moveTo>
                  <a:pt x="424248" y="0"/>
                </a:moveTo>
                <a:lnTo>
                  <a:pt x="408437" y="0"/>
                </a:lnTo>
                <a:lnTo>
                  <a:pt x="403725" y="4711"/>
                </a:lnTo>
                <a:lnTo>
                  <a:pt x="403725" y="16334"/>
                </a:lnTo>
                <a:lnTo>
                  <a:pt x="408437" y="21046"/>
                </a:lnTo>
                <a:lnTo>
                  <a:pt x="424248" y="21046"/>
                </a:lnTo>
                <a:lnTo>
                  <a:pt x="428960" y="16334"/>
                </a:lnTo>
                <a:lnTo>
                  <a:pt x="428960" y="4711"/>
                </a:lnTo>
                <a:lnTo>
                  <a:pt x="424248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9971329" y="3194652"/>
            <a:ext cx="13092" cy="423571"/>
          </a:xfrm>
          <a:custGeom>
            <a:avLst/>
            <a:gdLst/>
            <a:ahLst/>
            <a:cxnLst/>
            <a:rect l="l" t="t" r="r" b="b"/>
            <a:pathLst>
              <a:path w="21590" h="698500">
                <a:moveTo>
                  <a:pt x="16334" y="0"/>
                </a:moveTo>
                <a:lnTo>
                  <a:pt x="4711" y="0"/>
                </a:lnTo>
                <a:lnTo>
                  <a:pt x="0" y="4701"/>
                </a:lnTo>
                <a:lnTo>
                  <a:pt x="0" y="20522"/>
                </a:lnTo>
                <a:lnTo>
                  <a:pt x="4711" y="25224"/>
                </a:lnTo>
                <a:lnTo>
                  <a:pt x="16334" y="25224"/>
                </a:lnTo>
                <a:lnTo>
                  <a:pt x="21046" y="20522"/>
                </a:lnTo>
                <a:lnTo>
                  <a:pt x="21046" y="4701"/>
                </a:lnTo>
                <a:lnTo>
                  <a:pt x="16334" y="0"/>
                </a:lnTo>
                <a:close/>
              </a:path>
              <a:path w="21590" h="698500">
                <a:moveTo>
                  <a:pt x="16334" y="67285"/>
                </a:moveTo>
                <a:lnTo>
                  <a:pt x="4711" y="67285"/>
                </a:lnTo>
                <a:lnTo>
                  <a:pt x="0" y="71987"/>
                </a:lnTo>
                <a:lnTo>
                  <a:pt x="0" y="87808"/>
                </a:lnTo>
                <a:lnTo>
                  <a:pt x="4711" y="92520"/>
                </a:lnTo>
                <a:lnTo>
                  <a:pt x="16334" y="92520"/>
                </a:lnTo>
                <a:lnTo>
                  <a:pt x="21046" y="87808"/>
                </a:lnTo>
                <a:lnTo>
                  <a:pt x="21046" y="71987"/>
                </a:lnTo>
                <a:lnTo>
                  <a:pt x="16334" y="67285"/>
                </a:lnTo>
                <a:close/>
              </a:path>
              <a:path w="21590" h="698500">
                <a:moveTo>
                  <a:pt x="16334" y="134561"/>
                </a:moveTo>
                <a:lnTo>
                  <a:pt x="4711" y="134561"/>
                </a:lnTo>
                <a:lnTo>
                  <a:pt x="0" y="139283"/>
                </a:lnTo>
                <a:lnTo>
                  <a:pt x="0" y="155094"/>
                </a:lnTo>
                <a:lnTo>
                  <a:pt x="4711" y="159806"/>
                </a:lnTo>
                <a:lnTo>
                  <a:pt x="16334" y="159806"/>
                </a:lnTo>
                <a:lnTo>
                  <a:pt x="21046" y="155094"/>
                </a:lnTo>
                <a:lnTo>
                  <a:pt x="21046" y="139283"/>
                </a:lnTo>
                <a:lnTo>
                  <a:pt x="16334" y="134561"/>
                </a:lnTo>
                <a:close/>
              </a:path>
              <a:path w="21590" h="698500">
                <a:moveTo>
                  <a:pt x="16334" y="201857"/>
                </a:moveTo>
                <a:lnTo>
                  <a:pt x="4711" y="201857"/>
                </a:lnTo>
                <a:lnTo>
                  <a:pt x="0" y="206569"/>
                </a:lnTo>
                <a:lnTo>
                  <a:pt x="0" y="222391"/>
                </a:lnTo>
                <a:lnTo>
                  <a:pt x="4711" y="227092"/>
                </a:lnTo>
                <a:lnTo>
                  <a:pt x="16334" y="227092"/>
                </a:lnTo>
                <a:lnTo>
                  <a:pt x="21046" y="222391"/>
                </a:lnTo>
                <a:lnTo>
                  <a:pt x="21046" y="206569"/>
                </a:lnTo>
                <a:lnTo>
                  <a:pt x="16334" y="201857"/>
                </a:lnTo>
                <a:close/>
              </a:path>
              <a:path w="21590" h="698500">
                <a:moveTo>
                  <a:pt x="16334" y="269154"/>
                </a:moveTo>
                <a:lnTo>
                  <a:pt x="4711" y="269154"/>
                </a:lnTo>
                <a:lnTo>
                  <a:pt x="0" y="273855"/>
                </a:lnTo>
                <a:lnTo>
                  <a:pt x="0" y="289677"/>
                </a:lnTo>
                <a:lnTo>
                  <a:pt x="4711" y="294378"/>
                </a:lnTo>
                <a:lnTo>
                  <a:pt x="16334" y="294378"/>
                </a:lnTo>
                <a:lnTo>
                  <a:pt x="21046" y="289677"/>
                </a:lnTo>
                <a:lnTo>
                  <a:pt x="21046" y="273855"/>
                </a:lnTo>
                <a:lnTo>
                  <a:pt x="16334" y="269154"/>
                </a:lnTo>
                <a:close/>
              </a:path>
              <a:path w="21590" h="698500">
                <a:moveTo>
                  <a:pt x="16334" y="336440"/>
                </a:moveTo>
                <a:lnTo>
                  <a:pt x="4711" y="336440"/>
                </a:lnTo>
                <a:lnTo>
                  <a:pt x="0" y="341141"/>
                </a:lnTo>
                <a:lnTo>
                  <a:pt x="0" y="356962"/>
                </a:lnTo>
                <a:lnTo>
                  <a:pt x="4711" y="361674"/>
                </a:lnTo>
                <a:lnTo>
                  <a:pt x="16334" y="361674"/>
                </a:lnTo>
                <a:lnTo>
                  <a:pt x="21046" y="356962"/>
                </a:lnTo>
                <a:lnTo>
                  <a:pt x="21046" y="341141"/>
                </a:lnTo>
                <a:lnTo>
                  <a:pt x="16334" y="336440"/>
                </a:lnTo>
                <a:close/>
              </a:path>
              <a:path w="21590" h="698500">
                <a:moveTo>
                  <a:pt x="16334" y="403715"/>
                </a:moveTo>
                <a:lnTo>
                  <a:pt x="4711" y="403715"/>
                </a:lnTo>
                <a:lnTo>
                  <a:pt x="0" y="408437"/>
                </a:lnTo>
                <a:lnTo>
                  <a:pt x="0" y="424248"/>
                </a:lnTo>
                <a:lnTo>
                  <a:pt x="4711" y="428960"/>
                </a:lnTo>
                <a:lnTo>
                  <a:pt x="16334" y="428960"/>
                </a:lnTo>
                <a:lnTo>
                  <a:pt x="21046" y="424248"/>
                </a:lnTo>
                <a:lnTo>
                  <a:pt x="21046" y="408437"/>
                </a:lnTo>
                <a:lnTo>
                  <a:pt x="16334" y="403715"/>
                </a:lnTo>
                <a:close/>
              </a:path>
              <a:path w="21590" h="698500">
                <a:moveTo>
                  <a:pt x="16334" y="471011"/>
                </a:moveTo>
                <a:lnTo>
                  <a:pt x="4711" y="471011"/>
                </a:lnTo>
                <a:lnTo>
                  <a:pt x="0" y="475713"/>
                </a:lnTo>
                <a:lnTo>
                  <a:pt x="0" y="491534"/>
                </a:lnTo>
                <a:lnTo>
                  <a:pt x="4711" y="496246"/>
                </a:lnTo>
                <a:lnTo>
                  <a:pt x="16334" y="496246"/>
                </a:lnTo>
                <a:lnTo>
                  <a:pt x="21046" y="491534"/>
                </a:lnTo>
                <a:lnTo>
                  <a:pt x="21046" y="475713"/>
                </a:lnTo>
                <a:lnTo>
                  <a:pt x="16334" y="471011"/>
                </a:lnTo>
                <a:close/>
              </a:path>
              <a:path w="21590" h="698500">
                <a:moveTo>
                  <a:pt x="16334" y="538308"/>
                </a:moveTo>
                <a:lnTo>
                  <a:pt x="4711" y="538308"/>
                </a:lnTo>
                <a:lnTo>
                  <a:pt x="0" y="543009"/>
                </a:lnTo>
                <a:lnTo>
                  <a:pt x="0" y="558831"/>
                </a:lnTo>
                <a:lnTo>
                  <a:pt x="4711" y="563543"/>
                </a:lnTo>
                <a:lnTo>
                  <a:pt x="16334" y="563543"/>
                </a:lnTo>
                <a:lnTo>
                  <a:pt x="21046" y="558831"/>
                </a:lnTo>
                <a:lnTo>
                  <a:pt x="21046" y="543009"/>
                </a:lnTo>
                <a:lnTo>
                  <a:pt x="16334" y="538308"/>
                </a:lnTo>
                <a:close/>
              </a:path>
              <a:path w="21590" h="698500">
                <a:moveTo>
                  <a:pt x="16334" y="605594"/>
                </a:moveTo>
                <a:lnTo>
                  <a:pt x="4711" y="605594"/>
                </a:lnTo>
                <a:lnTo>
                  <a:pt x="0" y="610306"/>
                </a:lnTo>
                <a:lnTo>
                  <a:pt x="0" y="626117"/>
                </a:lnTo>
                <a:lnTo>
                  <a:pt x="4711" y="630828"/>
                </a:lnTo>
                <a:lnTo>
                  <a:pt x="16334" y="630828"/>
                </a:lnTo>
                <a:lnTo>
                  <a:pt x="21046" y="626117"/>
                </a:lnTo>
                <a:lnTo>
                  <a:pt x="21046" y="610306"/>
                </a:lnTo>
                <a:lnTo>
                  <a:pt x="16334" y="605594"/>
                </a:lnTo>
                <a:close/>
              </a:path>
              <a:path w="21590" h="698500">
                <a:moveTo>
                  <a:pt x="16334" y="672890"/>
                </a:moveTo>
                <a:lnTo>
                  <a:pt x="4711" y="672890"/>
                </a:lnTo>
                <a:lnTo>
                  <a:pt x="0" y="677602"/>
                </a:lnTo>
                <a:lnTo>
                  <a:pt x="0" y="693413"/>
                </a:lnTo>
                <a:lnTo>
                  <a:pt x="4711" y="698114"/>
                </a:lnTo>
                <a:lnTo>
                  <a:pt x="16334" y="698114"/>
                </a:lnTo>
                <a:lnTo>
                  <a:pt x="21046" y="693413"/>
                </a:lnTo>
                <a:lnTo>
                  <a:pt x="21046" y="677602"/>
                </a:lnTo>
                <a:lnTo>
                  <a:pt x="16334" y="67289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9971329" y="3634885"/>
            <a:ext cx="13092" cy="423571"/>
          </a:xfrm>
          <a:custGeom>
            <a:avLst/>
            <a:gdLst/>
            <a:ahLst/>
            <a:cxnLst/>
            <a:rect l="l" t="t" r="r" b="b"/>
            <a:pathLst>
              <a:path w="21590" h="698500">
                <a:moveTo>
                  <a:pt x="16334" y="0"/>
                </a:moveTo>
                <a:lnTo>
                  <a:pt x="4711" y="0"/>
                </a:lnTo>
                <a:lnTo>
                  <a:pt x="0" y="4701"/>
                </a:lnTo>
                <a:lnTo>
                  <a:pt x="0" y="20522"/>
                </a:lnTo>
                <a:lnTo>
                  <a:pt x="4711" y="25234"/>
                </a:lnTo>
                <a:lnTo>
                  <a:pt x="16334" y="25234"/>
                </a:lnTo>
                <a:lnTo>
                  <a:pt x="21046" y="20522"/>
                </a:lnTo>
                <a:lnTo>
                  <a:pt x="21046" y="4701"/>
                </a:lnTo>
                <a:lnTo>
                  <a:pt x="16334" y="0"/>
                </a:lnTo>
                <a:close/>
              </a:path>
              <a:path w="21590" h="698500">
                <a:moveTo>
                  <a:pt x="16334" y="67285"/>
                </a:moveTo>
                <a:lnTo>
                  <a:pt x="4711" y="67285"/>
                </a:lnTo>
                <a:lnTo>
                  <a:pt x="0" y="71997"/>
                </a:lnTo>
                <a:lnTo>
                  <a:pt x="0" y="87819"/>
                </a:lnTo>
                <a:lnTo>
                  <a:pt x="4711" y="92520"/>
                </a:lnTo>
                <a:lnTo>
                  <a:pt x="16334" y="92520"/>
                </a:lnTo>
                <a:lnTo>
                  <a:pt x="21046" y="87819"/>
                </a:lnTo>
                <a:lnTo>
                  <a:pt x="21046" y="71997"/>
                </a:lnTo>
                <a:lnTo>
                  <a:pt x="16334" y="67285"/>
                </a:lnTo>
                <a:close/>
              </a:path>
              <a:path w="21590" h="698500">
                <a:moveTo>
                  <a:pt x="16334" y="134571"/>
                </a:moveTo>
                <a:lnTo>
                  <a:pt x="4711" y="134571"/>
                </a:lnTo>
                <a:lnTo>
                  <a:pt x="0" y="139283"/>
                </a:lnTo>
                <a:lnTo>
                  <a:pt x="0" y="155094"/>
                </a:lnTo>
                <a:lnTo>
                  <a:pt x="4711" y="159806"/>
                </a:lnTo>
                <a:lnTo>
                  <a:pt x="16334" y="159806"/>
                </a:lnTo>
                <a:lnTo>
                  <a:pt x="21046" y="155094"/>
                </a:lnTo>
                <a:lnTo>
                  <a:pt x="21046" y="139283"/>
                </a:lnTo>
                <a:lnTo>
                  <a:pt x="16334" y="134571"/>
                </a:lnTo>
                <a:close/>
              </a:path>
              <a:path w="21590" h="698500">
                <a:moveTo>
                  <a:pt x="16334" y="201868"/>
                </a:moveTo>
                <a:lnTo>
                  <a:pt x="4711" y="201868"/>
                </a:lnTo>
                <a:lnTo>
                  <a:pt x="0" y="206569"/>
                </a:lnTo>
                <a:lnTo>
                  <a:pt x="0" y="222391"/>
                </a:lnTo>
                <a:lnTo>
                  <a:pt x="4711" y="227092"/>
                </a:lnTo>
                <a:lnTo>
                  <a:pt x="16334" y="227092"/>
                </a:lnTo>
                <a:lnTo>
                  <a:pt x="21046" y="222391"/>
                </a:lnTo>
                <a:lnTo>
                  <a:pt x="21046" y="206569"/>
                </a:lnTo>
                <a:lnTo>
                  <a:pt x="16334" y="201868"/>
                </a:lnTo>
                <a:close/>
              </a:path>
              <a:path w="21590" h="698500">
                <a:moveTo>
                  <a:pt x="16334" y="269154"/>
                </a:moveTo>
                <a:lnTo>
                  <a:pt x="4711" y="269154"/>
                </a:lnTo>
                <a:lnTo>
                  <a:pt x="0" y="273855"/>
                </a:lnTo>
                <a:lnTo>
                  <a:pt x="0" y="289677"/>
                </a:lnTo>
                <a:lnTo>
                  <a:pt x="4711" y="294388"/>
                </a:lnTo>
                <a:lnTo>
                  <a:pt x="16334" y="294388"/>
                </a:lnTo>
                <a:lnTo>
                  <a:pt x="21046" y="289677"/>
                </a:lnTo>
                <a:lnTo>
                  <a:pt x="21046" y="273855"/>
                </a:lnTo>
                <a:lnTo>
                  <a:pt x="16334" y="269154"/>
                </a:lnTo>
                <a:close/>
              </a:path>
              <a:path w="21590" h="698500">
                <a:moveTo>
                  <a:pt x="16334" y="336450"/>
                </a:moveTo>
                <a:lnTo>
                  <a:pt x="4711" y="336450"/>
                </a:lnTo>
                <a:lnTo>
                  <a:pt x="0" y="341151"/>
                </a:lnTo>
                <a:lnTo>
                  <a:pt x="0" y="356973"/>
                </a:lnTo>
                <a:lnTo>
                  <a:pt x="4711" y="361674"/>
                </a:lnTo>
                <a:lnTo>
                  <a:pt x="16334" y="361674"/>
                </a:lnTo>
                <a:lnTo>
                  <a:pt x="21046" y="356973"/>
                </a:lnTo>
                <a:lnTo>
                  <a:pt x="21046" y="341151"/>
                </a:lnTo>
                <a:lnTo>
                  <a:pt x="16334" y="336450"/>
                </a:lnTo>
                <a:close/>
              </a:path>
              <a:path w="21590" h="698500">
                <a:moveTo>
                  <a:pt x="16334" y="403725"/>
                </a:moveTo>
                <a:lnTo>
                  <a:pt x="4711" y="403725"/>
                </a:lnTo>
                <a:lnTo>
                  <a:pt x="0" y="408437"/>
                </a:lnTo>
                <a:lnTo>
                  <a:pt x="0" y="424248"/>
                </a:lnTo>
                <a:lnTo>
                  <a:pt x="4711" y="428971"/>
                </a:lnTo>
                <a:lnTo>
                  <a:pt x="16334" y="428971"/>
                </a:lnTo>
                <a:lnTo>
                  <a:pt x="21046" y="424248"/>
                </a:lnTo>
                <a:lnTo>
                  <a:pt x="21046" y="408437"/>
                </a:lnTo>
                <a:lnTo>
                  <a:pt x="16334" y="403725"/>
                </a:lnTo>
                <a:close/>
              </a:path>
              <a:path w="21590" h="698500">
                <a:moveTo>
                  <a:pt x="16334" y="471011"/>
                </a:moveTo>
                <a:lnTo>
                  <a:pt x="4711" y="471011"/>
                </a:lnTo>
                <a:lnTo>
                  <a:pt x="0" y="475723"/>
                </a:lnTo>
                <a:lnTo>
                  <a:pt x="0" y="491545"/>
                </a:lnTo>
                <a:lnTo>
                  <a:pt x="4711" y="496246"/>
                </a:lnTo>
                <a:lnTo>
                  <a:pt x="16334" y="496246"/>
                </a:lnTo>
                <a:lnTo>
                  <a:pt x="21046" y="491545"/>
                </a:lnTo>
                <a:lnTo>
                  <a:pt x="21046" y="475723"/>
                </a:lnTo>
                <a:lnTo>
                  <a:pt x="16334" y="471011"/>
                </a:lnTo>
                <a:close/>
              </a:path>
              <a:path w="21590" h="698500">
                <a:moveTo>
                  <a:pt x="16334" y="538308"/>
                </a:moveTo>
                <a:lnTo>
                  <a:pt x="4711" y="538308"/>
                </a:lnTo>
                <a:lnTo>
                  <a:pt x="0" y="543020"/>
                </a:lnTo>
                <a:lnTo>
                  <a:pt x="0" y="558841"/>
                </a:lnTo>
                <a:lnTo>
                  <a:pt x="4711" y="563543"/>
                </a:lnTo>
                <a:lnTo>
                  <a:pt x="16334" y="563543"/>
                </a:lnTo>
                <a:lnTo>
                  <a:pt x="21046" y="558841"/>
                </a:lnTo>
                <a:lnTo>
                  <a:pt x="21046" y="543020"/>
                </a:lnTo>
                <a:lnTo>
                  <a:pt x="16334" y="538308"/>
                </a:lnTo>
                <a:close/>
              </a:path>
              <a:path w="21590" h="698500">
                <a:moveTo>
                  <a:pt x="16334" y="605604"/>
                </a:moveTo>
                <a:lnTo>
                  <a:pt x="4711" y="605604"/>
                </a:lnTo>
                <a:lnTo>
                  <a:pt x="0" y="610316"/>
                </a:lnTo>
                <a:lnTo>
                  <a:pt x="0" y="626117"/>
                </a:lnTo>
                <a:lnTo>
                  <a:pt x="4711" y="630828"/>
                </a:lnTo>
                <a:lnTo>
                  <a:pt x="16334" y="630828"/>
                </a:lnTo>
                <a:lnTo>
                  <a:pt x="21046" y="626117"/>
                </a:lnTo>
                <a:lnTo>
                  <a:pt x="21046" y="610316"/>
                </a:lnTo>
                <a:lnTo>
                  <a:pt x="16334" y="605604"/>
                </a:lnTo>
                <a:close/>
              </a:path>
              <a:path w="21590" h="698500">
                <a:moveTo>
                  <a:pt x="16334" y="672890"/>
                </a:moveTo>
                <a:lnTo>
                  <a:pt x="4711" y="672890"/>
                </a:lnTo>
                <a:lnTo>
                  <a:pt x="0" y="677602"/>
                </a:lnTo>
                <a:lnTo>
                  <a:pt x="0" y="693413"/>
                </a:lnTo>
                <a:lnTo>
                  <a:pt x="4711" y="698125"/>
                </a:lnTo>
                <a:lnTo>
                  <a:pt x="16334" y="698125"/>
                </a:lnTo>
                <a:lnTo>
                  <a:pt x="21046" y="693413"/>
                </a:lnTo>
                <a:lnTo>
                  <a:pt x="21046" y="677602"/>
                </a:lnTo>
                <a:lnTo>
                  <a:pt x="16334" y="67289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9971329" y="4081469"/>
            <a:ext cx="13092" cy="423571"/>
          </a:xfrm>
          <a:custGeom>
            <a:avLst/>
            <a:gdLst/>
            <a:ahLst/>
            <a:cxnLst/>
            <a:rect l="l" t="t" r="r" b="b"/>
            <a:pathLst>
              <a:path w="21590" h="698500">
                <a:moveTo>
                  <a:pt x="16334" y="0"/>
                </a:moveTo>
                <a:lnTo>
                  <a:pt x="4711" y="0"/>
                </a:lnTo>
                <a:lnTo>
                  <a:pt x="0" y="4711"/>
                </a:lnTo>
                <a:lnTo>
                  <a:pt x="0" y="20533"/>
                </a:lnTo>
                <a:lnTo>
                  <a:pt x="4711" y="25234"/>
                </a:lnTo>
                <a:lnTo>
                  <a:pt x="16334" y="25234"/>
                </a:lnTo>
                <a:lnTo>
                  <a:pt x="21046" y="20533"/>
                </a:lnTo>
                <a:lnTo>
                  <a:pt x="21046" y="4711"/>
                </a:lnTo>
                <a:lnTo>
                  <a:pt x="16334" y="0"/>
                </a:lnTo>
                <a:close/>
              </a:path>
              <a:path w="21590" h="698500">
                <a:moveTo>
                  <a:pt x="16334" y="67296"/>
                </a:moveTo>
                <a:lnTo>
                  <a:pt x="4711" y="67296"/>
                </a:lnTo>
                <a:lnTo>
                  <a:pt x="0" y="71997"/>
                </a:lnTo>
                <a:lnTo>
                  <a:pt x="0" y="87819"/>
                </a:lnTo>
                <a:lnTo>
                  <a:pt x="4711" y="92520"/>
                </a:lnTo>
                <a:lnTo>
                  <a:pt x="16334" y="92520"/>
                </a:lnTo>
                <a:lnTo>
                  <a:pt x="21046" y="87819"/>
                </a:lnTo>
                <a:lnTo>
                  <a:pt x="21046" y="71997"/>
                </a:lnTo>
                <a:lnTo>
                  <a:pt x="16334" y="67296"/>
                </a:lnTo>
                <a:close/>
              </a:path>
              <a:path w="21590" h="698500">
                <a:moveTo>
                  <a:pt x="16334" y="134571"/>
                </a:moveTo>
                <a:lnTo>
                  <a:pt x="4711" y="134571"/>
                </a:lnTo>
                <a:lnTo>
                  <a:pt x="0" y="139283"/>
                </a:lnTo>
                <a:lnTo>
                  <a:pt x="0" y="155094"/>
                </a:lnTo>
                <a:lnTo>
                  <a:pt x="4711" y="159817"/>
                </a:lnTo>
                <a:lnTo>
                  <a:pt x="16334" y="159817"/>
                </a:lnTo>
                <a:lnTo>
                  <a:pt x="21046" y="155094"/>
                </a:lnTo>
                <a:lnTo>
                  <a:pt x="21046" y="139283"/>
                </a:lnTo>
                <a:lnTo>
                  <a:pt x="16334" y="134571"/>
                </a:lnTo>
                <a:close/>
              </a:path>
              <a:path w="21590" h="698500">
                <a:moveTo>
                  <a:pt x="16334" y="201868"/>
                </a:moveTo>
                <a:lnTo>
                  <a:pt x="4711" y="201868"/>
                </a:lnTo>
                <a:lnTo>
                  <a:pt x="0" y="206569"/>
                </a:lnTo>
                <a:lnTo>
                  <a:pt x="0" y="222391"/>
                </a:lnTo>
                <a:lnTo>
                  <a:pt x="4711" y="227103"/>
                </a:lnTo>
                <a:lnTo>
                  <a:pt x="16334" y="227103"/>
                </a:lnTo>
                <a:lnTo>
                  <a:pt x="21046" y="222391"/>
                </a:lnTo>
                <a:lnTo>
                  <a:pt x="21046" y="206569"/>
                </a:lnTo>
                <a:lnTo>
                  <a:pt x="16334" y="201868"/>
                </a:lnTo>
                <a:close/>
              </a:path>
              <a:path w="21590" h="698500">
                <a:moveTo>
                  <a:pt x="16334" y="269154"/>
                </a:moveTo>
                <a:lnTo>
                  <a:pt x="4711" y="269154"/>
                </a:lnTo>
                <a:lnTo>
                  <a:pt x="0" y="273866"/>
                </a:lnTo>
                <a:lnTo>
                  <a:pt x="0" y="289687"/>
                </a:lnTo>
                <a:lnTo>
                  <a:pt x="4711" y="294388"/>
                </a:lnTo>
                <a:lnTo>
                  <a:pt x="16334" y="294388"/>
                </a:lnTo>
                <a:lnTo>
                  <a:pt x="21046" y="289687"/>
                </a:lnTo>
                <a:lnTo>
                  <a:pt x="21046" y="273866"/>
                </a:lnTo>
                <a:lnTo>
                  <a:pt x="16334" y="269154"/>
                </a:lnTo>
                <a:close/>
              </a:path>
              <a:path w="21590" h="698500">
                <a:moveTo>
                  <a:pt x="16334" y="336450"/>
                </a:moveTo>
                <a:lnTo>
                  <a:pt x="4711" y="336450"/>
                </a:lnTo>
                <a:lnTo>
                  <a:pt x="0" y="341151"/>
                </a:lnTo>
                <a:lnTo>
                  <a:pt x="0" y="356973"/>
                </a:lnTo>
                <a:lnTo>
                  <a:pt x="4711" y="361685"/>
                </a:lnTo>
                <a:lnTo>
                  <a:pt x="16334" y="361685"/>
                </a:lnTo>
                <a:lnTo>
                  <a:pt x="21046" y="356973"/>
                </a:lnTo>
                <a:lnTo>
                  <a:pt x="21046" y="341151"/>
                </a:lnTo>
                <a:lnTo>
                  <a:pt x="16334" y="336450"/>
                </a:lnTo>
                <a:close/>
              </a:path>
              <a:path w="21590" h="698500">
                <a:moveTo>
                  <a:pt x="16334" y="403725"/>
                </a:moveTo>
                <a:lnTo>
                  <a:pt x="4711" y="403725"/>
                </a:lnTo>
                <a:lnTo>
                  <a:pt x="0" y="408448"/>
                </a:lnTo>
                <a:lnTo>
                  <a:pt x="0" y="424259"/>
                </a:lnTo>
                <a:lnTo>
                  <a:pt x="4711" y="428971"/>
                </a:lnTo>
                <a:lnTo>
                  <a:pt x="16334" y="428971"/>
                </a:lnTo>
                <a:lnTo>
                  <a:pt x="21046" y="424259"/>
                </a:lnTo>
                <a:lnTo>
                  <a:pt x="21046" y="408448"/>
                </a:lnTo>
                <a:lnTo>
                  <a:pt x="16334" y="403725"/>
                </a:lnTo>
                <a:close/>
              </a:path>
              <a:path w="21590" h="698500">
                <a:moveTo>
                  <a:pt x="16334" y="471022"/>
                </a:moveTo>
                <a:lnTo>
                  <a:pt x="4711" y="471022"/>
                </a:lnTo>
                <a:lnTo>
                  <a:pt x="0" y="475723"/>
                </a:lnTo>
                <a:lnTo>
                  <a:pt x="0" y="491545"/>
                </a:lnTo>
                <a:lnTo>
                  <a:pt x="4711" y="496246"/>
                </a:lnTo>
                <a:lnTo>
                  <a:pt x="16334" y="496246"/>
                </a:lnTo>
                <a:lnTo>
                  <a:pt x="21046" y="491545"/>
                </a:lnTo>
                <a:lnTo>
                  <a:pt x="21046" y="475723"/>
                </a:lnTo>
                <a:lnTo>
                  <a:pt x="16334" y="471022"/>
                </a:lnTo>
                <a:close/>
              </a:path>
              <a:path w="21590" h="698500">
                <a:moveTo>
                  <a:pt x="16334" y="538318"/>
                </a:moveTo>
                <a:lnTo>
                  <a:pt x="4711" y="538318"/>
                </a:lnTo>
                <a:lnTo>
                  <a:pt x="0" y="543020"/>
                </a:lnTo>
                <a:lnTo>
                  <a:pt x="0" y="558841"/>
                </a:lnTo>
                <a:lnTo>
                  <a:pt x="4711" y="563543"/>
                </a:lnTo>
                <a:lnTo>
                  <a:pt x="16334" y="563543"/>
                </a:lnTo>
                <a:lnTo>
                  <a:pt x="21046" y="558841"/>
                </a:lnTo>
                <a:lnTo>
                  <a:pt x="21046" y="543020"/>
                </a:lnTo>
                <a:lnTo>
                  <a:pt x="16334" y="538318"/>
                </a:lnTo>
                <a:close/>
              </a:path>
              <a:path w="21590" h="698500">
                <a:moveTo>
                  <a:pt x="16334" y="605604"/>
                </a:moveTo>
                <a:lnTo>
                  <a:pt x="4711" y="605604"/>
                </a:lnTo>
                <a:lnTo>
                  <a:pt x="0" y="610316"/>
                </a:lnTo>
                <a:lnTo>
                  <a:pt x="0" y="626127"/>
                </a:lnTo>
                <a:lnTo>
                  <a:pt x="4711" y="630839"/>
                </a:lnTo>
                <a:lnTo>
                  <a:pt x="16334" y="630839"/>
                </a:lnTo>
                <a:lnTo>
                  <a:pt x="21046" y="626127"/>
                </a:lnTo>
                <a:lnTo>
                  <a:pt x="21046" y="610316"/>
                </a:lnTo>
                <a:lnTo>
                  <a:pt x="16334" y="605604"/>
                </a:lnTo>
                <a:close/>
              </a:path>
              <a:path w="21590" h="698500">
                <a:moveTo>
                  <a:pt x="16334" y="672890"/>
                </a:moveTo>
                <a:lnTo>
                  <a:pt x="4711" y="672890"/>
                </a:lnTo>
                <a:lnTo>
                  <a:pt x="0" y="677602"/>
                </a:lnTo>
                <a:lnTo>
                  <a:pt x="0" y="693413"/>
                </a:lnTo>
                <a:lnTo>
                  <a:pt x="4711" y="698125"/>
                </a:lnTo>
                <a:lnTo>
                  <a:pt x="16334" y="698125"/>
                </a:lnTo>
                <a:lnTo>
                  <a:pt x="21046" y="693413"/>
                </a:lnTo>
                <a:lnTo>
                  <a:pt x="21046" y="677602"/>
                </a:lnTo>
                <a:lnTo>
                  <a:pt x="16334" y="67289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9971329" y="4524759"/>
            <a:ext cx="13092" cy="137853"/>
          </a:xfrm>
          <a:custGeom>
            <a:avLst/>
            <a:gdLst/>
            <a:ahLst/>
            <a:cxnLst/>
            <a:rect l="l" t="t" r="r" b="b"/>
            <a:pathLst>
              <a:path w="21590" h="227329">
                <a:moveTo>
                  <a:pt x="16334" y="0"/>
                </a:moveTo>
                <a:lnTo>
                  <a:pt x="4711" y="0"/>
                </a:lnTo>
                <a:lnTo>
                  <a:pt x="0" y="4711"/>
                </a:lnTo>
                <a:lnTo>
                  <a:pt x="0" y="20533"/>
                </a:lnTo>
                <a:lnTo>
                  <a:pt x="4711" y="25234"/>
                </a:lnTo>
                <a:lnTo>
                  <a:pt x="16334" y="25234"/>
                </a:lnTo>
                <a:lnTo>
                  <a:pt x="21046" y="20533"/>
                </a:lnTo>
                <a:lnTo>
                  <a:pt x="21046" y="4711"/>
                </a:lnTo>
                <a:lnTo>
                  <a:pt x="16334" y="0"/>
                </a:lnTo>
                <a:close/>
              </a:path>
              <a:path w="21590" h="227329">
                <a:moveTo>
                  <a:pt x="16334" y="67296"/>
                </a:moveTo>
                <a:lnTo>
                  <a:pt x="4711" y="67296"/>
                </a:lnTo>
                <a:lnTo>
                  <a:pt x="0" y="71997"/>
                </a:lnTo>
                <a:lnTo>
                  <a:pt x="0" y="87819"/>
                </a:lnTo>
                <a:lnTo>
                  <a:pt x="4711" y="92520"/>
                </a:lnTo>
                <a:lnTo>
                  <a:pt x="16334" y="92520"/>
                </a:lnTo>
                <a:lnTo>
                  <a:pt x="21046" y="87819"/>
                </a:lnTo>
                <a:lnTo>
                  <a:pt x="21046" y="71997"/>
                </a:lnTo>
                <a:lnTo>
                  <a:pt x="16334" y="67296"/>
                </a:lnTo>
                <a:close/>
              </a:path>
              <a:path w="21590" h="227329">
                <a:moveTo>
                  <a:pt x="16334" y="134571"/>
                </a:moveTo>
                <a:lnTo>
                  <a:pt x="4711" y="134571"/>
                </a:lnTo>
                <a:lnTo>
                  <a:pt x="0" y="139283"/>
                </a:lnTo>
                <a:lnTo>
                  <a:pt x="0" y="155094"/>
                </a:lnTo>
                <a:lnTo>
                  <a:pt x="4711" y="159817"/>
                </a:lnTo>
                <a:lnTo>
                  <a:pt x="16334" y="159817"/>
                </a:lnTo>
                <a:lnTo>
                  <a:pt x="21046" y="155094"/>
                </a:lnTo>
                <a:lnTo>
                  <a:pt x="21046" y="139283"/>
                </a:lnTo>
                <a:lnTo>
                  <a:pt x="16334" y="134571"/>
                </a:lnTo>
                <a:close/>
              </a:path>
              <a:path w="21590" h="227329">
                <a:moveTo>
                  <a:pt x="16334" y="201868"/>
                </a:moveTo>
                <a:lnTo>
                  <a:pt x="4711" y="201868"/>
                </a:lnTo>
                <a:lnTo>
                  <a:pt x="0" y="206569"/>
                </a:lnTo>
                <a:lnTo>
                  <a:pt x="0" y="222391"/>
                </a:lnTo>
                <a:lnTo>
                  <a:pt x="4711" y="227103"/>
                </a:lnTo>
                <a:lnTo>
                  <a:pt x="16334" y="227103"/>
                </a:lnTo>
                <a:lnTo>
                  <a:pt x="21046" y="222391"/>
                </a:lnTo>
                <a:lnTo>
                  <a:pt x="21046" y="206569"/>
                </a:lnTo>
                <a:lnTo>
                  <a:pt x="16334" y="201868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6082793" y="3461783"/>
            <a:ext cx="3197121" cy="271252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7740571" y="2898413"/>
            <a:ext cx="38892" cy="33500"/>
          </a:xfrm>
          <a:custGeom>
            <a:avLst/>
            <a:gdLst/>
            <a:ahLst/>
            <a:cxnLst/>
            <a:rect l="l" t="t" r="r" b="b"/>
            <a:pathLst>
              <a:path w="64134" h="55245">
                <a:moveTo>
                  <a:pt x="34124" y="0"/>
                </a:moveTo>
                <a:lnTo>
                  <a:pt x="29412" y="0"/>
                </a:lnTo>
                <a:lnTo>
                  <a:pt x="0" y="50940"/>
                </a:lnTo>
                <a:lnTo>
                  <a:pt x="2366" y="55014"/>
                </a:lnTo>
                <a:lnTo>
                  <a:pt x="61170" y="55014"/>
                </a:lnTo>
                <a:lnTo>
                  <a:pt x="63526" y="50940"/>
                </a:lnTo>
                <a:lnTo>
                  <a:pt x="34124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7740574" y="3322214"/>
            <a:ext cx="38892" cy="33500"/>
          </a:xfrm>
          <a:custGeom>
            <a:avLst/>
            <a:gdLst/>
            <a:ahLst/>
            <a:cxnLst/>
            <a:rect l="l" t="t" r="r" b="b"/>
            <a:pathLst>
              <a:path w="64134" h="55245">
                <a:moveTo>
                  <a:pt x="61160" y="0"/>
                </a:moveTo>
                <a:lnTo>
                  <a:pt x="2355" y="0"/>
                </a:lnTo>
                <a:lnTo>
                  <a:pt x="0" y="4083"/>
                </a:lnTo>
                <a:lnTo>
                  <a:pt x="29402" y="55014"/>
                </a:lnTo>
                <a:lnTo>
                  <a:pt x="34114" y="55014"/>
                </a:lnTo>
                <a:lnTo>
                  <a:pt x="63526" y="4083"/>
                </a:lnTo>
                <a:lnTo>
                  <a:pt x="61160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9956569" y="4642921"/>
            <a:ext cx="38892" cy="33500"/>
          </a:xfrm>
          <a:custGeom>
            <a:avLst/>
            <a:gdLst/>
            <a:ahLst/>
            <a:cxnLst/>
            <a:rect l="l" t="t" r="r" b="b"/>
            <a:pathLst>
              <a:path w="64134" h="55245">
                <a:moveTo>
                  <a:pt x="61160" y="0"/>
                </a:moveTo>
                <a:lnTo>
                  <a:pt x="2355" y="0"/>
                </a:lnTo>
                <a:lnTo>
                  <a:pt x="0" y="4083"/>
                </a:lnTo>
                <a:lnTo>
                  <a:pt x="29402" y="55014"/>
                </a:lnTo>
                <a:lnTo>
                  <a:pt x="34114" y="55014"/>
                </a:lnTo>
                <a:lnTo>
                  <a:pt x="63526" y="4083"/>
                </a:lnTo>
                <a:lnTo>
                  <a:pt x="61160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5770074" y="4661970"/>
            <a:ext cx="38892" cy="33500"/>
          </a:xfrm>
          <a:custGeom>
            <a:avLst/>
            <a:gdLst/>
            <a:ahLst/>
            <a:cxnLst/>
            <a:rect l="l" t="t" r="r" b="b"/>
            <a:pathLst>
              <a:path w="64134" h="55245">
                <a:moveTo>
                  <a:pt x="61160" y="0"/>
                </a:moveTo>
                <a:lnTo>
                  <a:pt x="2345" y="0"/>
                </a:lnTo>
                <a:lnTo>
                  <a:pt x="0" y="4083"/>
                </a:lnTo>
                <a:lnTo>
                  <a:pt x="29391" y="55014"/>
                </a:lnTo>
                <a:lnTo>
                  <a:pt x="34114" y="55014"/>
                </a:lnTo>
                <a:lnTo>
                  <a:pt x="63516" y="4083"/>
                </a:lnTo>
                <a:lnTo>
                  <a:pt x="61160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7905659" y="2898413"/>
            <a:ext cx="38892" cy="33500"/>
          </a:xfrm>
          <a:custGeom>
            <a:avLst/>
            <a:gdLst/>
            <a:ahLst/>
            <a:cxnLst/>
            <a:rect l="l" t="t" r="r" b="b"/>
            <a:pathLst>
              <a:path w="64134" h="55245">
                <a:moveTo>
                  <a:pt x="34124" y="0"/>
                </a:moveTo>
                <a:lnTo>
                  <a:pt x="29412" y="0"/>
                </a:lnTo>
                <a:lnTo>
                  <a:pt x="0" y="50940"/>
                </a:lnTo>
                <a:lnTo>
                  <a:pt x="2366" y="55014"/>
                </a:lnTo>
                <a:lnTo>
                  <a:pt x="61170" y="55014"/>
                </a:lnTo>
                <a:lnTo>
                  <a:pt x="63526" y="50940"/>
                </a:lnTo>
                <a:lnTo>
                  <a:pt x="34124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7569133" y="2898413"/>
            <a:ext cx="38892" cy="33500"/>
          </a:xfrm>
          <a:custGeom>
            <a:avLst/>
            <a:gdLst/>
            <a:ahLst/>
            <a:cxnLst/>
            <a:rect l="l" t="t" r="r" b="b"/>
            <a:pathLst>
              <a:path w="64134" h="55245">
                <a:moveTo>
                  <a:pt x="34124" y="0"/>
                </a:moveTo>
                <a:lnTo>
                  <a:pt x="29412" y="0"/>
                </a:lnTo>
                <a:lnTo>
                  <a:pt x="0" y="50940"/>
                </a:lnTo>
                <a:lnTo>
                  <a:pt x="2366" y="55014"/>
                </a:lnTo>
                <a:lnTo>
                  <a:pt x="61170" y="55014"/>
                </a:lnTo>
                <a:lnTo>
                  <a:pt x="63526" y="50940"/>
                </a:lnTo>
                <a:lnTo>
                  <a:pt x="34124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5781652" y="4544957"/>
            <a:ext cx="13092" cy="97036"/>
          </a:xfrm>
          <a:custGeom>
            <a:avLst/>
            <a:gdLst/>
            <a:ahLst/>
            <a:cxnLst/>
            <a:rect l="l" t="t" r="r" b="b"/>
            <a:pathLst>
              <a:path w="21590" h="160020">
                <a:moveTo>
                  <a:pt x="16334" y="134582"/>
                </a:moveTo>
                <a:lnTo>
                  <a:pt x="4711" y="134582"/>
                </a:lnTo>
                <a:lnTo>
                  <a:pt x="0" y="139283"/>
                </a:lnTo>
                <a:lnTo>
                  <a:pt x="0" y="155105"/>
                </a:lnTo>
                <a:lnTo>
                  <a:pt x="4711" y="159817"/>
                </a:lnTo>
                <a:lnTo>
                  <a:pt x="16334" y="159817"/>
                </a:lnTo>
                <a:lnTo>
                  <a:pt x="21046" y="155105"/>
                </a:lnTo>
                <a:lnTo>
                  <a:pt x="21046" y="139283"/>
                </a:lnTo>
                <a:lnTo>
                  <a:pt x="16334" y="134582"/>
                </a:lnTo>
                <a:close/>
              </a:path>
              <a:path w="21590" h="160020">
                <a:moveTo>
                  <a:pt x="16334" y="67296"/>
                </a:moveTo>
                <a:lnTo>
                  <a:pt x="4711" y="67296"/>
                </a:lnTo>
                <a:lnTo>
                  <a:pt x="0" y="72008"/>
                </a:lnTo>
                <a:lnTo>
                  <a:pt x="0" y="87808"/>
                </a:lnTo>
                <a:lnTo>
                  <a:pt x="4711" y="92520"/>
                </a:lnTo>
                <a:lnTo>
                  <a:pt x="16334" y="92520"/>
                </a:lnTo>
                <a:lnTo>
                  <a:pt x="21046" y="87808"/>
                </a:lnTo>
                <a:lnTo>
                  <a:pt x="21046" y="72008"/>
                </a:lnTo>
                <a:lnTo>
                  <a:pt x="16334" y="67296"/>
                </a:lnTo>
                <a:close/>
              </a:path>
              <a:path w="21590" h="160020">
                <a:moveTo>
                  <a:pt x="16334" y="0"/>
                </a:moveTo>
                <a:lnTo>
                  <a:pt x="4711" y="0"/>
                </a:lnTo>
                <a:lnTo>
                  <a:pt x="0" y="4711"/>
                </a:lnTo>
                <a:lnTo>
                  <a:pt x="0" y="20522"/>
                </a:lnTo>
                <a:lnTo>
                  <a:pt x="4711" y="25245"/>
                </a:lnTo>
                <a:lnTo>
                  <a:pt x="16334" y="25245"/>
                </a:lnTo>
                <a:lnTo>
                  <a:pt x="21046" y="20522"/>
                </a:lnTo>
                <a:lnTo>
                  <a:pt x="21046" y="4711"/>
                </a:lnTo>
                <a:lnTo>
                  <a:pt x="16334" y="0"/>
                </a:lnTo>
                <a:close/>
              </a:path>
            </a:pathLst>
          </a:custGeom>
          <a:solidFill>
            <a:srgbClr val="666666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7548535" y="2168602"/>
            <a:ext cx="424962" cy="42492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6201396" y="3575567"/>
            <a:ext cx="2957247" cy="159508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8530164" y="4744895"/>
            <a:ext cx="2538805" cy="141417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87" name="object 87"/>
          <p:cNvSpPr/>
          <p:nvPr/>
        </p:nvSpPr>
        <p:spPr>
          <a:xfrm>
            <a:off x="8902503" y="4831229"/>
            <a:ext cx="1792688" cy="114581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5477198" y="4941604"/>
            <a:ext cx="888344" cy="1088578"/>
          </a:xfrm>
          <a:custGeom>
            <a:avLst/>
            <a:gdLst/>
            <a:ahLst/>
            <a:cxnLst/>
            <a:rect l="l" t="t" r="r" b="b"/>
            <a:pathLst>
              <a:path w="1464945" h="1795145">
                <a:moveTo>
                  <a:pt x="1464468" y="1794824"/>
                </a:moveTo>
                <a:lnTo>
                  <a:pt x="0" y="1794824"/>
                </a:lnTo>
                <a:lnTo>
                  <a:pt x="0" y="0"/>
                </a:lnTo>
                <a:lnTo>
                  <a:pt x="1464468" y="0"/>
                </a:lnTo>
                <a:lnTo>
                  <a:pt x="1464468" y="1794824"/>
                </a:lnTo>
                <a:close/>
              </a:path>
            </a:pathLst>
          </a:custGeom>
          <a:solidFill>
            <a:srgbClr val="EEEEEE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5454646" y="4754824"/>
            <a:ext cx="936862" cy="1411647"/>
          </a:xfrm>
          <a:custGeom>
            <a:avLst/>
            <a:gdLst/>
            <a:ahLst/>
            <a:cxnLst/>
            <a:rect l="l" t="t" r="r" b="b"/>
            <a:pathLst>
              <a:path w="1544954" h="2327909">
                <a:moveTo>
                  <a:pt x="1321928" y="0"/>
                </a:moveTo>
                <a:lnTo>
                  <a:pt x="228108" y="0"/>
                </a:lnTo>
                <a:lnTo>
                  <a:pt x="174527" y="3949"/>
                </a:lnTo>
                <a:lnTo>
                  <a:pt x="126017" y="15274"/>
                </a:lnTo>
                <a:lnTo>
                  <a:pt x="83734" y="33189"/>
                </a:lnTo>
                <a:lnTo>
                  <a:pt x="48835" y="56909"/>
                </a:lnTo>
                <a:lnTo>
                  <a:pt x="22475" y="85648"/>
                </a:lnTo>
                <a:lnTo>
                  <a:pt x="0" y="155042"/>
                </a:lnTo>
                <a:lnTo>
                  <a:pt x="0" y="2168698"/>
                </a:lnTo>
                <a:lnTo>
                  <a:pt x="6878" y="2208415"/>
                </a:lnTo>
                <a:lnTo>
                  <a:pt x="26032" y="2243143"/>
                </a:lnTo>
                <a:lnTo>
                  <a:pt x="55238" y="2272474"/>
                </a:lnTo>
                <a:lnTo>
                  <a:pt x="92271" y="2295998"/>
                </a:lnTo>
                <a:lnTo>
                  <a:pt x="134910" y="2313308"/>
                </a:lnTo>
                <a:lnTo>
                  <a:pt x="180930" y="2323993"/>
                </a:lnTo>
                <a:lnTo>
                  <a:pt x="228108" y="2327646"/>
                </a:lnTo>
                <a:lnTo>
                  <a:pt x="1321928" y="2327646"/>
                </a:lnTo>
                <a:lnTo>
                  <a:pt x="1358991" y="2323740"/>
                </a:lnTo>
                <a:lnTo>
                  <a:pt x="228108" y="2323740"/>
                </a:lnTo>
                <a:lnTo>
                  <a:pt x="187527" y="2320703"/>
                </a:lnTo>
                <a:lnTo>
                  <a:pt x="144751" y="2311506"/>
                </a:lnTo>
                <a:lnTo>
                  <a:pt x="102811" y="2295998"/>
                </a:lnTo>
                <a:lnTo>
                  <a:pt x="64916" y="2274128"/>
                </a:lnTo>
                <a:lnTo>
                  <a:pt x="34008" y="2245693"/>
                </a:lnTo>
                <a:lnTo>
                  <a:pt x="13208" y="2210592"/>
                </a:lnTo>
                <a:lnTo>
                  <a:pt x="5591" y="2168698"/>
                </a:lnTo>
                <a:lnTo>
                  <a:pt x="5591" y="155042"/>
                </a:lnTo>
                <a:lnTo>
                  <a:pt x="13265" y="113924"/>
                </a:lnTo>
                <a:lnTo>
                  <a:pt x="35093" y="77555"/>
                </a:lnTo>
                <a:lnTo>
                  <a:pt x="69283" y="47153"/>
                </a:lnTo>
                <a:lnTo>
                  <a:pt x="114043" y="23931"/>
                </a:lnTo>
                <a:lnTo>
                  <a:pt x="167582" y="9106"/>
                </a:lnTo>
                <a:lnTo>
                  <a:pt x="228108" y="3895"/>
                </a:lnTo>
                <a:lnTo>
                  <a:pt x="1371864" y="3895"/>
                </a:lnTo>
                <a:lnTo>
                  <a:pt x="1321928" y="0"/>
                </a:lnTo>
                <a:close/>
              </a:path>
              <a:path w="1544954" h="2327909">
                <a:moveTo>
                  <a:pt x="1371864" y="3895"/>
                </a:moveTo>
                <a:lnTo>
                  <a:pt x="1321928" y="3895"/>
                </a:lnTo>
                <a:lnTo>
                  <a:pt x="1380228" y="9205"/>
                </a:lnTo>
                <a:lnTo>
                  <a:pt x="1432223" y="24245"/>
                </a:lnTo>
                <a:lnTo>
                  <a:pt x="1475996" y="47683"/>
                </a:lnTo>
                <a:lnTo>
                  <a:pt x="1509634" y="78184"/>
                </a:lnTo>
                <a:lnTo>
                  <a:pt x="1531221" y="114415"/>
                </a:lnTo>
                <a:lnTo>
                  <a:pt x="1538843" y="155042"/>
                </a:lnTo>
                <a:lnTo>
                  <a:pt x="1538843" y="2168698"/>
                </a:lnTo>
                <a:lnTo>
                  <a:pt x="1530659" y="2208359"/>
                </a:lnTo>
                <a:lnTo>
                  <a:pt x="1507833" y="2244960"/>
                </a:lnTo>
                <a:lnTo>
                  <a:pt x="1472957" y="2276650"/>
                </a:lnTo>
                <a:lnTo>
                  <a:pt x="1428621" y="2301577"/>
                </a:lnTo>
                <a:lnTo>
                  <a:pt x="1377414" y="2317891"/>
                </a:lnTo>
                <a:lnTo>
                  <a:pt x="1321928" y="2323740"/>
                </a:lnTo>
                <a:lnTo>
                  <a:pt x="1358991" y="2323740"/>
                </a:lnTo>
                <a:lnTo>
                  <a:pt x="1431369" y="2304922"/>
                </a:lnTo>
                <a:lnTo>
                  <a:pt x="1476849" y="2279365"/>
                </a:lnTo>
                <a:lnTo>
                  <a:pt x="1512624" y="2246876"/>
                </a:lnTo>
                <a:lnTo>
                  <a:pt x="1536039" y="2209354"/>
                </a:lnTo>
                <a:lnTo>
                  <a:pt x="1544434" y="2168698"/>
                </a:lnTo>
                <a:lnTo>
                  <a:pt x="1544434" y="155042"/>
                </a:lnTo>
                <a:lnTo>
                  <a:pt x="1522148" y="86284"/>
                </a:lnTo>
                <a:lnTo>
                  <a:pt x="1496145" y="57520"/>
                </a:lnTo>
                <a:lnTo>
                  <a:pt x="1461885" y="33647"/>
                </a:lnTo>
                <a:lnTo>
                  <a:pt x="1420604" y="15529"/>
                </a:lnTo>
                <a:lnTo>
                  <a:pt x="1373540" y="4025"/>
                </a:lnTo>
                <a:lnTo>
                  <a:pt x="1371864" y="3895"/>
                </a:lnTo>
                <a:close/>
              </a:path>
            </a:pathLst>
          </a:custGeom>
          <a:solidFill>
            <a:srgbClr val="5B5E6B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5434291" y="4740634"/>
            <a:ext cx="977294" cy="1440141"/>
          </a:xfrm>
          <a:custGeom>
            <a:avLst/>
            <a:gdLst/>
            <a:ahLst/>
            <a:cxnLst/>
            <a:rect l="l" t="t" r="r" b="b"/>
            <a:pathLst>
              <a:path w="1611629" h="2374900">
                <a:moveTo>
                  <a:pt x="1355497" y="0"/>
                </a:moveTo>
                <a:lnTo>
                  <a:pt x="261677" y="0"/>
                </a:lnTo>
                <a:lnTo>
                  <a:pt x="202011" y="3581"/>
                </a:lnTo>
                <a:lnTo>
                  <a:pt x="149639" y="13871"/>
                </a:lnTo>
                <a:lnTo>
                  <a:pt x="104765" y="30190"/>
                </a:lnTo>
                <a:lnTo>
                  <a:pt x="67593" y="51859"/>
                </a:lnTo>
                <a:lnTo>
                  <a:pt x="38327" y="78198"/>
                </a:lnTo>
                <a:lnTo>
                  <a:pt x="4326" y="142165"/>
                </a:lnTo>
                <a:lnTo>
                  <a:pt x="0" y="178434"/>
                </a:lnTo>
                <a:lnTo>
                  <a:pt x="0" y="2192100"/>
                </a:lnTo>
                <a:lnTo>
                  <a:pt x="5588" y="2231856"/>
                </a:lnTo>
                <a:lnTo>
                  <a:pt x="21497" y="2267493"/>
                </a:lnTo>
                <a:lnTo>
                  <a:pt x="46441" y="2298649"/>
                </a:lnTo>
                <a:lnTo>
                  <a:pt x="79133" y="2324958"/>
                </a:lnTo>
                <a:lnTo>
                  <a:pt x="118289" y="2346055"/>
                </a:lnTo>
                <a:lnTo>
                  <a:pt x="162622" y="2361575"/>
                </a:lnTo>
                <a:lnTo>
                  <a:pt x="210847" y="2371155"/>
                </a:lnTo>
                <a:lnTo>
                  <a:pt x="261677" y="2374430"/>
                </a:lnTo>
                <a:lnTo>
                  <a:pt x="1355497" y="2374430"/>
                </a:lnTo>
                <a:lnTo>
                  <a:pt x="1408697" y="2370682"/>
                </a:lnTo>
                <a:lnTo>
                  <a:pt x="1457514" y="2359951"/>
                </a:lnTo>
                <a:lnTo>
                  <a:pt x="1460377" y="2358839"/>
                </a:lnTo>
                <a:lnTo>
                  <a:pt x="261677" y="2358839"/>
                </a:lnTo>
                <a:lnTo>
                  <a:pt x="211417" y="2355280"/>
                </a:lnTo>
                <a:lnTo>
                  <a:pt x="162840" y="2344707"/>
                </a:lnTo>
                <a:lnTo>
                  <a:pt x="118152" y="2327277"/>
                </a:lnTo>
                <a:lnTo>
                  <a:pt x="79557" y="2303145"/>
                </a:lnTo>
                <a:lnTo>
                  <a:pt x="49259" y="2272468"/>
                </a:lnTo>
                <a:lnTo>
                  <a:pt x="29464" y="2235401"/>
                </a:lnTo>
                <a:lnTo>
                  <a:pt x="22376" y="2192100"/>
                </a:lnTo>
                <a:lnTo>
                  <a:pt x="22376" y="178434"/>
                </a:lnTo>
                <a:lnTo>
                  <a:pt x="28092" y="137895"/>
                </a:lnTo>
                <a:lnTo>
                  <a:pt x="44686" y="102376"/>
                </a:lnTo>
                <a:lnTo>
                  <a:pt x="71324" y="72320"/>
                </a:lnTo>
                <a:lnTo>
                  <a:pt x="107175" y="48171"/>
                </a:lnTo>
                <a:lnTo>
                  <a:pt x="151406" y="30372"/>
                </a:lnTo>
                <a:lnTo>
                  <a:pt x="203184" y="19368"/>
                </a:lnTo>
                <a:lnTo>
                  <a:pt x="261677" y="15601"/>
                </a:lnTo>
                <a:lnTo>
                  <a:pt x="1467469" y="15601"/>
                </a:lnTo>
                <a:lnTo>
                  <a:pt x="1462823" y="13871"/>
                </a:lnTo>
                <a:lnTo>
                  <a:pt x="1412311" y="3581"/>
                </a:lnTo>
                <a:lnTo>
                  <a:pt x="1355497" y="0"/>
                </a:lnTo>
                <a:close/>
              </a:path>
              <a:path w="1611629" h="2374900">
                <a:moveTo>
                  <a:pt x="1467469" y="15601"/>
                </a:moveTo>
                <a:lnTo>
                  <a:pt x="1355497" y="15601"/>
                </a:lnTo>
                <a:lnTo>
                  <a:pt x="1412286" y="19529"/>
                </a:lnTo>
                <a:lnTo>
                  <a:pt x="1462722" y="30911"/>
                </a:lnTo>
                <a:lnTo>
                  <a:pt x="1505936" y="49140"/>
                </a:lnTo>
                <a:lnTo>
                  <a:pt x="1541059" y="73612"/>
                </a:lnTo>
                <a:lnTo>
                  <a:pt x="1567223" y="103722"/>
                </a:lnTo>
                <a:lnTo>
                  <a:pt x="1583559" y="138864"/>
                </a:lnTo>
                <a:lnTo>
                  <a:pt x="1589197" y="178434"/>
                </a:lnTo>
                <a:lnTo>
                  <a:pt x="1589197" y="2192100"/>
                </a:lnTo>
                <a:lnTo>
                  <a:pt x="1583211" y="2230432"/>
                </a:lnTo>
                <a:lnTo>
                  <a:pt x="1566064" y="2265567"/>
                </a:lnTo>
                <a:lnTo>
                  <a:pt x="1538972" y="2296520"/>
                </a:lnTo>
                <a:lnTo>
                  <a:pt x="1503153" y="2322308"/>
                </a:lnTo>
                <a:lnTo>
                  <a:pt x="1459823" y="2341947"/>
                </a:lnTo>
                <a:lnTo>
                  <a:pt x="1410199" y="2354452"/>
                </a:lnTo>
                <a:lnTo>
                  <a:pt x="1355497" y="2358839"/>
                </a:lnTo>
                <a:lnTo>
                  <a:pt x="1460377" y="2358839"/>
                </a:lnTo>
                <a:lnTo>
                  <a:pt x="1501111" y="2343009"/>
                </a:lnTo>
                <a:lnTo>
                  <a:pt x="1538654" y="2320626"/>
                </a:lnTo>
                <a:lnTo>
                  <a:pt x="1569308" y="2293573"/>
                </a:lnTo>
                <a:lnTo>
                  <a:pt x="1592238" y="2262621"/>
                </a:lnTo>
                <a:lnTo>
                  <a:pt x="1611584" y="2192100"/>
                </a:lnTo>
                <a:lnTo>
                  <a:pt x="1611584" y="178434"/>
                </a:lnTo>
                <a:lnTo>
                  <a:pt x="1594008" y="108526"/>
                </a:lnTo>
                <a:lnTo>
                  <a:pt x="1543374" y="51859"/>
                </a:lnTo>
                <a:lnTo>
                  <a:pt x="1506642" y="30190"/>
                </a:lnTo>
                <a:lnTo>
                  <a:pt x="1467469" y="15601"/>
                </a:lnTo>
                <a:close/>
              </a:path>
            </a:pathLst>
          </a:custGeom>
          <a:solidFill>
            <a:srgbClr val="272324"/>
          </a:solid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91" name="object 91"/>
          <p:cNvSpPr/>
          <p:nvPr/>
        </p:nvSpPr>
        <p:spPr>
          <a:xfrm>
            <a:off x="6329447" y="4755041"/>
            <a:ext cx="71610" cy="6134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6323345" y="6111922"/>
            <a:ext cx="74029" cy="5553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5433615" y="4738800"/>
            <a:ext cx="978339" cy="144465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5476918" y="4942070"/>
            <a:ext cx="887350" cy="1088419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95" name="object 54"/>
          <p:cNvSpPr/>
          <p:nvPr/>
        </p:nvSpPr>
        <p:spPr>
          <a:xfrm>
            <a:off x="6960556" y="1755017"/>
            <a:ext cx="1603135" cy="1069772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endParaRPr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9255991" y="1643572"/>
            <a:ext cx="266348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485C69"/>
                </a:solidFill>
                <a:latin typeface="Open Sans"/>
                <a:ea typeface="Open Sans"/>
                <a:cs typeface="Open Sans"/>
                <a:sym typeface="Open Sans"/>
              </a:rPr>
              <a:t>Цифровая экономика</a:t>
            </a:r>
            <a:endParaRPr lang="ru-RU" dirty="0">
              <a:sym typeface="Open Sans"/>
            </a:endParaRPr>
          </a:p>
          <a:p>
            <a:r>
              <a:rPr lang="ru-RU" b="1" dirty="0" smtClean="0">
                <a:solidFill>
                  <a:srgbClr val="485C69"/>
                </a:solidFill>
                <a:latin typeface="Open Sans"/>
                <a:ea typeface="Open Sans"/>
                <a:cs typeface="Open Sans"/>
                <a:sym typeface="Open Sans"/>
              </a:rPr>
              <a:t>Цифровая медицина</a:t>
            </a:r>
          </a:p>
        </p:txBody>
      </p:sp>
      <p:sp>
        <p:nvSpPr>
          <p:cNvPr id="96" name="Прямоугольник 95"/>
          <p:cNvSpPr/>
          <p:nvPr/>
        </p:nvSpPr>
        <p:spPr>
          <a:xfrm>
            <a:off x="143496" y="6304883"/>
            <a:ext cx="116294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Наиболее реалистичное решение – </a:t>
            </a:r>
            <a:r>
              <a:rPr lang="ru-RU" sz="1400" dirty="0" smtClean="0"/>
              <a:t>не увеличивать число диетологов, а дать </a:t>
            </a:r>
            <a:r>
              <a:rPr lang="ru-RU" sz="1400" dirty="0"/>
              <a:t>компетенции и возможности профессионального диетолога врачам других </a:t>
            </a:r>
            <a:r>
              <a:rPr lang="ru-RU" sz="1400" dirty="0" smtClean="0"/>
              <a:t>специальностей (врачам общей практики, терапевтам, педиатрам, гастроэнтерологам, кардиологам ….)  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653251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zr0XBw3UCHgk4aompU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zr0XBw3UCHgk4aompUQ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4E4E4E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Трек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4E4E4E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Трек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19</TotalTime>
  <Words>988</Words>
  <Application>Microsoft Office PowerPoint</Application>
  <PresentationFormat>Широкоэкранный</PresentationFormat>
  <Paragraphs>258</Paragraphs>
  <Slides>17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7</vt:i4>
      </vt:variant>
    </vt:vector>
  </HeadingPairs>
  <TitlesOfParts>
    <vt:vector size="29" baseType="lpstr">
      <vt:lpstr>Arial</vt:lpstr>
      <vt:lpstr>Calibri</vt:lpstr>
      <vt:lpstr>Open Sans</vt:lpstr>
      <vt:lpstr>Open Sans Light</vt:lpstr>
      <vt:lpstr>Roboto</vt:lpstr>
      <vt:lpstr>Roboto Condensed</vt:lpstr>
      <vt:lpstr>Roboto Light</vt:lpstr>
      <vt:lpstr>Segoe UI</vt:lpstr>
      <vt:lpstr>Tahoma</vt:lpstr>
      <vt:lpstr>Times New Roman</vt:lpstr>
      <vt:lpstr>Office Theme</vt:lpstr>
      <vt:lpstr>1_Office Theme</vt:lpstr>
      <vt:lpstr>Цифровая диетология в реальной клинической практике</vt:lpstr>
      <vt:lpstr>Презентация PowerPoint</vt:lpstr>
      <vt:lpstr>Медицинское обеспечение  производственного процесса</vt:lpstr>
      <vt:lpstr>Презентация PowerPoint</vt:lpstr>
      <vt:lpstr>Презентация PowerPoint</vt:lpstr>
      <vt:lpstr>Наиболее эффективным подходом является персонализированная диетология</vt:lpstr>
      <vt:lpstr>Кто дает рекомендации по питанию в реальной практике?</vt:lpstr>
      <vt:lpstr>Презентация PowerPoint</vt:lpstr>
      <vt:lpstr>Возможное решение –  цифровая нутрициология</vt:lpstr>
      <vt:lpstr>Презентация PowerPoint</vt:lpstr>
      <vt:lpstr>Формирование индивидуального рациона</vt:lpstr>
      <vt:lpstr>Презентация PowerPoint</vt:lpstr>
      <vt:lpstr>Лучшая теория – это практика</vt:lpstr>
      <vt:lpstr>Проект «Доступная диетология»</vt:lpstr>
      <vt:lpstr>Основа превентивной медицины ближайшего будущего - прогнозирование результатов с использованием искусственного интеллекта</vt:lpstr>
      <vt:lpstr>Основа превентивной медицины ближайшего будущего - прогнозирование результатов с использованием искусственного интеллекта</vt:lpstr>
      <vt:lpstr>Благодарю за внимание!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fred Bogdanov</dc:creator>
  <cp:lastModifiedBy>Alfred Bogdanov</cp:lastModifiedBy>
  <cp:revision>33</cp:revision>
  <dcterms:created xsi:type="dcterms:W3CDTF">2018-11-27T21:08:37Z</dcterms:created>
  <dcterms:modified xsi:type="dcterms:W3CDTF">2019-04-10T12:38:39Z</dcterms:modified>
</cp:coreProperties>
</file>